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139.xml" ContentType="application/vnd.openxmlformats-officedocument.presentationml.tags+xml"/>
  <Override PartName="/ppt/notesSlides/notesSlide6.xml" ContentType="application/vnd.openxmlformats-officedocument.presentationml.notesSlide+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159.xml" ContentType="application/vnd.openxmlformats-officedocument.presentationml.tags+xml"/>
  <Override PartName="/ppt/notesSlides/notesSlide9.xml" ContentType="application/vnd.openxmlformats-officedocument.presentationml.notesSlide+xml"/>
  <Override PartName="/ppt/tags/tag160.xml" ContentType="application/vnd.openxmlformats-officedocument.presentationml.tags+xml"/>
  <Override PartName="/ppt/notesSlides/notesSlide10.xml" ContentType="application/vnd.openxmlformats-officedocument.presentationml.notesSlide+xml"/>
  <Override PartName="/ppt/tags/tag161.xml" ContentType="application/vnd.openxmlformats-officedocument.presentationml.tags+xml"/>
  <Override PartName="/ppt/notesSlides/notesSlide11.xml" ContentType="application/vnd.openxmlformats-officedocument.presentationml.notesSlide+xml"/>
  <Override PartName="/ppt/tags/tag162.xml" ContentType="application/vnd.openxmlformats-officedocument.presentationml.tags+xml"/>
  <Override PartName="/ppt/notesSlides/notesSlide12.xml" ContentType="application/vnd.openxmlformats-officedocument.presentationml.notesSlide+xml"/>
  <Override PartName="/ppt/tags/tag163.xml" ContentType="application/vnd.openxmlformats-officedocument.presentationml.tags+xml"/>
  <Override PartName="/ppt/notesSlides/notesSlide13.xml" ContentType="application/vnd.openxmlformats-officedocument.presentationml.notesSlide+xml"/>
  <Override PartName="/ppt/tags/tag164.xml" ContentType="application/vnd.openxmlformats-officedocument.presentationml.tags+xml"/>
  <Override PartName="/ppt/notesSlides/notesSlide14.xml" ContentType="application/vnd.openxmlformats-officedocument.presentationml.notesSlide+xml"/>
  <Override PartName="/ppt/tags/tag16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8"/>
    <p:sldMasterId id="2147483730" r:id="rId9"/>
    <p:sldMasterId id="2147483775" r:id="rId10"/>
    <p:sldMasterId id="2147483793" r:id="rId11"/>
  </p:sldMasterIdLst>
  <p:notesMasterIdLst>
    <p:notesMasterId r:id="rId27"/>
  </p:notesMasterIdLst>
  <p:handoutMasterIdLst>
    <p:handoutMasterId r:id="rId28"/>
  </p:handoutMasterIdLst>
  <p:sldIdLst>
    <p:sldId id="256" r:id="rId12"/>
    <p:sldId id="2147374002" r:id="rId13"/>
    <p:sldId id="2147478097" r:id="rId14"/>
    <p:sldId id="2147478096" r:id="rId15"/>
    <p:sldId id="2147374003" r:id="rId16"/>
    <p:sldId id="2147478101" r:id="rId17"/>
    <p:sldId id="2147478099" r:id="rId18"/>
    <p:sldId id="2147478100" r:id="rId19"/>
    <p:sldId id="2147478102" r:id="rId20"/>
    <p:sldId id="2147478103" r:id="rId21"/>
    <p:sldId id="2147478109" r:id="rId22"/>
    <p:sldId id="2147478104" r:id="rId23"/>
    <p:sldId id="2147478107" r:id="rId24"/>
    <p:sldId id="415" r:id="rId25"/>
    <p:sldId id="2147478110" r:id="rId26"/>
  </p:sldIdLst>
  <p:sldSz cx="12192000" cy="6858000"/>
  <p:notesSz cx="6858000" cy="9144000"/>
  <p:embeddedFontLst>
    <p:embeddedFont>
      <p:font typeface="Arial Nova" panose="020B0504020202020204" pitchFamily="34" charset="0"/>
      <p:regular r:id="rId29"/>
      <p:bold r:id="rId30"/>
      <p:italic r:id="rId31"/>
      <p:boldItalic r:id="rId32"/>
    </p:embeddedFont>
    <p:embeddedFont>
      <p:font typeface="Bebas Kai" panose="020B0604020202020204" charset="0"/>
      <p:regular r:id="rId33"/>
      <p:bold r:id="rId34"/>
      <p:italic r:id="rId35"/>
      <p:boldItalic r:id="rId36"/>
    </p:embeddedFont>
    <p:embeddedFont>
      <p:font typeface="Century Gothic" panose="020B0502020202020204" pitchFamily="34" charset="0"/>
      <p:regular r:id="rId37"/>
      <p:bold r:id="rId38"/>
      <p:italic r:id="rId39"/>
      <p:boldItalic r:id="rId40"/>
    </p:embeddedFont>
    <p:embeddedFont>
      <p:font typeface="Georgia" panose="02040502050405020303" pitchFamily="18" charset="0"/>
      <p:regular r:id="rId41"/>
      <p:bold r:id="rId42"/>
      <p:italic r:id="rId43"/>
      <p:boldItalic r:id="rId44"/>
    </p:embeddedFont>
    <p:embeddedFont>
      <p:font typeface="Museo Sans 100" panose="02000000000000000000" charset="0"/>
      <p:regular r:id="rId45"/>
      <p:bold r:id="rId46"/>
      <p:italic r:id="rId47"/>
      <p:boldItalic r:id="rId48"/>
    </p:embeddedFont>
    <p:embeddedFont>
      <p:font typeface="Source Sans Pro" panose="020B0503030403020204" pitchFamily="34" charset="0"/>
      <p:regular r:id="rId49"/>
      <p:bold r:id="rId50"/>
      <p:italic r:id="rId51"/>
      <p:boldItalic r:id="rId52"/>
    </p:embeddedFont>
  </p:embeddedFontLst>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AE49"/>
    <a:srgbClr val="0B9B9A"/>
    <a:srgbClr val="4774C5"/>
    <a:srgbClr val="000000"/>
    <a:srgbClr val="F2F2F1"/>
    <a:srgbClr val="FFE2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955BD8-0611-4B85-B089-174A83C1D908}" v="1" dt="2024-04-23T10:35:01.094"/>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7544" autoAdjust="0"/>
  </p:normalViewPr>
  <p:slideViewPr>
    <p:cSldViewPr snapToGrid="0">
      <p:cViewPr varScale="1">
        <p:scale>
          <a:sx n="47" d="100"/>
          <a:sy n="47" d="100"/>
        </p:scale>
        <p:origin x="1666" y="53"/>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0" d="100"/>
          <a:sy n="80" d="100"/>
        </p:scale>
        <p:origin x="3066"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font" Target="fonts/font11.fntdata"/><Relationship Id="rId21" Type="http://schemas.openxmlformats.org/officeDocument/2006/relationships/slide" Target="slides/slide10.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font" Target="fonts/font22.fntdata"/><Relationship Id="rId55"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font" Target="fonts/font1.fntdata"/><Relationship Id="rId11" Type="http://schemas.openxmlformats.org/officeDocument/2006/relationships/slideMaster" Target="slideMasters/slideMaster4.xml"/><Relationship Id="rId24" Type="http://schemas.openxmlformats.org/officeDocument/2006/relationships/slide" Target="slides/slide13.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customXml" Target="../customXml/item5.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openxmlformats.org/officeDocument/2006/relationships/theme" Target="theme/theme1.xml"/><Relationship Id="rId8" Type="http://schemas.openxmlformats.org/officeDocument/2006/relationships/slideMaster" Target="slideMasters/slideMaster1.xml"/><Relationship Id="rId51" Type="http://schemas.openxmlformats.org/officeDocument/2006/relationships/font" Target="fonts/font23.fntdata"/><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59"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font" Target="fonts/font13.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font" Target="fonts/font21.fntdata"/><Relationship Id="rId57" Type="http://schemas.openxmlformats.org/officeDocument/2006/relationships/tableStyles" Target="tableStyles.xml"/><Relationship Id="rId10" Type="http://schemas.openxmlformats.org/officeDocument/2006/relationships/slideMaster" Target="slideMasters/slideMaster3.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font" Target="fonts/font24.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Nohl" userId="9ef36af6-76f0-4203-aeec-ca7107d8d2dd" providerId="ADAL" clId="{37955BD8-0611-4B85-B089-174A83C1D908}"/>
    <pc:docChg chg="modSld">
      <pc:chgData name="Rebecca Nohl" userId="9ef36af6-76f0-4203-aeec-ca7107d8d2dd" providerId="ADAL" clId="{37955BD8-0611-4B85-B089-174A83C1D908}" dt="2024-04-23T10:36:43.320" v="124" actId="20577"/>
      <pc:docMkLst>
        <pc:docMk/>
      </pc:docMkLst>
      <pc:sldChg chg="modNotesTx">
        <pc:chgData name="Rebecca Nohl" userId="9ef36af6-76f0-4203-aeec-ca7107d8d2dd" providerId="ADAL" clId="{37955BD8-0611-4B85-B089-174A83C1D908}" dt="2024-04-23T10:33:51.643" v="0" actId="20577"/>
        <pc:sldMkLst>
          <pc:docMk/>
          <pc:sldMk cId="1227389975" sldId="256"/>
        </pc:sldMkLst>
      </pc:sldChg>
      <pc:sldChg chg="modNotesTx">
        <pc:chgData name="Rebecca Nohl" userId="9ef36af6-76f0-4203-aeec-ca7107d8d2dd" providerId="ADAL" clId="{37955BD8-0611-4B85-B089-174A83C1D908}" dt="2024-04-23T10:36:43.320" v="124" actId="20577"/>
        <pc:sldMkLst>
          <pc:docMk/>
          <pc:sldMk cId="892833082" sldId="415"/>
        </pc:sldMkLst>
      </pc:sldChg>
      <pc:sldChg chg="modNotesTx">
        <pc:chgData name="Rebecca Nohl" userId="9ef36af6-76f0-4203-aeec-ca7107d8d2dd" providerId="ADAL" clId="{37955BD8-0611-4B85-B089-174A83C1D908}" dt="2024-04-23T10:33:58.190" v="1" actId="20577"/>
        <pc:sldMkLst>
          <pc:docMk/>
          <pc:sldMk cId="2963311486" sldId="2147374002"/>
        </pc:sldMkLst>
      </pc:sldChg>
      <pc:sldChg chg="modNotesTx">
        <pc:chgData name="Rebecca Nohl" userId="9ef36af6-76f0-4203-aeec-ca7107d8d2dd" providerId="ADAL" clId="{37955BD8-0611-4B85-B089-174A83C1D908}" dt="2024-04-23T10:34:17.766" v="4" actId="20577"/>
        <pc:sldMkLst>
          <pc:docMk/>
          <pc:sldMk cId="2485657337" sldId="2147374003"/>
        </pc:sldMkLst>
      </pc:sldChg>
      <pc:sldChg chg="modNotesTx">
        <pc:chgData name="Rebecca Nohl" userId="9ef36af6-76f0-4203-aeec-ca7107d8d2dd" providerId="ADAL" clId="{37955BD8-0611-4B85-B089-174A83C1D908}" dt="2024-04-23T10:34:13.558" v="3" actId="20577"/>
        <pc:sldMkLst>
          <pc:docMk/>
          <pc:sldMk cId="2200221340" sldId="2147478096"/>
        </pc:sldMkLst>
      </pc:sldChg>
      <pc:sldChg chg="modNotesTx">
        <pc:chgData name="Rebecca Nohl" userId="9ef36af6-76f0-4203-aeec-ca7107d8d2dd" providerId="ADAL" clId="{37955BD8-0611-4B85-B089-174A83C1D908}" dt="2024-04-23T10:34:04.032" v="2" actId="20577"/>
        <pc:sldMkLst>
          <pc:docMk/>
          <pc:sldMk cId="618122639" sldId="2147478097"/>
        </pc:sldMkLst>
      </pc:sldChg>
      <pc:sldChg chg="modNotesTx">
        <pc:chgData name="Rebecca Nohl" userId="9ef36af6-76f0-4203-aeec-ca7107d8d2dd" providerId="ADAL" clId="{37955BD8-0611-4B85-B089-174A83C1D908}" dt="2024-04-23T10:34:32.720" v="6" actId="20577"/>
        <pc:sldMkLst>
          <pc:docMk/>
          <pc:sldMk cId="1306317720" sldId="2147478099"/>
        </pc:sldMkLst>
      </pc:sldChg>
      <pc:sldChg chg="modNotesTx">
        <pc:chgData name="Rebecca Nohl" userId="9ef36af6-76f0-4203-aeec-ca7107d8d2dd" providerId="ADAL" clId="{37955BD8-0611-4B85-B089-174A83C1D908}" dt="2024-04-23T10:34:36.922" v="7" actId="20577"/>
        <pc:sldMkLst>
          <pc:docMk/>
          <pc:sldMk cId="2285095921" sldId="2147478100"/>
        </pc:sldMkLst>
      </pc:sldChg>
      <pc:sldChg chg="modNotesTx">
        <pc:chgData name="Rebecca Nohl" userId="9ef36af6-76f0-4203-aeec-ca7107d8d2dd" providerId="ADAL" clId="{37955BD8-0611-4B85-B089-174A83C1D908}" dt="2024-04-23T10:34:24.666" v="5" actId="20577"/>
        <pc:sldMkLst>
          <pc:docMk/>
          <pc:sldMk cId="1151365045" sldId="2147478101"/>
        </pc:sldMkLst>
      </pc:sldChg>
      <pc:sldChg chg="modNotesTx">
        <pc:chgData name="Rebecca Nohl" userId="9ef36af6-76f0-4203-aeec-ca7107d8d2dd" providerId="ADAL" clId="{37955BD8-0611-4B85-B089-174A83C1D908}" dt="2024-04-23T10:34:39.897" v="8" actId="20577"/>
        <pc:sldMkLst>
          <pc:docMk/>
          <pc:sldMk cId="882123976" sldId="2147478102"/>
        </pc:sldMkLst>
      </pc:sldChg>
      <pc:sldChg chg="modNotesTx">
        <pc:chgData name="Rebecca Nohl" userId="9ef36af6-76f0-4203-aeec-ca7107d8d2dd" providerId="ADAL" clId="{37955BD8-0611-4B85-B089-174A83C1D908}" dt="2024-04-23T10:34:43.921" v="9" actId="20577"/>
        <pc:sldMkLst>
          <pc:docMk/>
          <pc:sldMk cId="2289783310" sldId="2147478103"/>
        </pc:sldMkLst>
      </pc:sldChg>
      <pc:sldChg chg="addSp modSp mod modNotesTx">
        <pc:chgData name="Rebecca Nohl" userId="9ef36af6-76f0-4203-aeec-ca7107d8d2dd" providerId="ADAL" clId="{37955BD8-0611-4B85-B089-174A83C1D908}" dt="2024-04-23T10:36:21.823" v="122" actId="114"/>
        <pc:sldMkLst>
          <pc:docMk/>
          <pc:sldMk cId="819918855" sldId="2147478104"/>
        </pc:sldMkLst>
        <pc:spChg chg="add mod">
          <ac:chgData name="Rebecca Nohl" userId="9ef36af6-76f0-4203-aeec-ca7107d8d2dd" providerId="ADAL" clId="{37955BD8-0611-4B85-B089-174A83C1D908}" dt="2024-04-23T10:36:21.823" v="122" actId="114"/>
          <ac:spMkLst>
            <pc:docMk/>
            <pc:sldMk cId="819918855" sldId="2147478104"/>
            <ac:spMk id="3" creationId="{7EB728ED-8806-F0F9-5222-82A87532E50E}"/>
          </ac:spMkLst>
        </pc:spChg>
      </pc:sldChg>
      <pc:sldChg chg="modNotesTx">
        <pc:chgData name="Rebecca Nohl" userId="9ef36af6-76f0-4203-aeec-ca7107d8d2dd" providerId="ADAL" clId="{37955BD8-0611-4B85-B089-174A83C1D908}" dt="2024-04-23T10:36:38.237" v="123" actId="20577"/>
        <pc:sldMkLst>
          <pc:docMk/>
          <pc:sldMk cId="3971199066" sldId="2147478107"/>
        </pc:sldMkLst>
      </pc:sldChg>
      <pc:sldChg chg="modNotesTx">
        <pc:chgData name="Rebecca Nohl" userId="9ef36af6-76f0-4203-aeec-ca7107d8d2dd" providerId="ADAL" clId="{37955BD8-0611-4B85-B089-174A83C1D908}" dt="2024-04-23T10:34:47.536" v="10" actId="20577"/>
        <pc:sldMkLst>
          <pc:docMk/>
          <pc:sldMk cId="1049118618" sldId="214747810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ystemiq.sharepoint.com/sites/SUN-IRP_Phase4_2023-25SUN0022-SUN-IRP_Phase4_2023-25/Shared%20Documents/02_GRO%202024/05_graphics%20support/Copy%20of%20Material%20extraction%20and%20material%20productivity%20graph.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GB" b="1"/>
              <a:t>Material</a:t>
            </a:r>
            <a:r>
              <a:rPr lang="en-GB" b="1" baseline="0"/>
              <a:t> extraction and material productivity</a:t>
            </a:r>
            <a:endParaRPr lang="en-GB"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Material ext and productivity '!$A$31</c:f>
              <c:strCache>
                <c:ptCount val="1"/>
                <c:pt idx="0">
                  <c:v> Biomass </c:v>
                </c:pt>
              </c:strCache>
            </c:strRef>
          </c:tx>
          <c:spPr>
            <a:solidFill>
              <a:srgbClr val="00B050"/>
            </a:solidFill>
            <a:ln>
              <a:noFill/>
            </a:ln>
            <a:effectLst/>
          </c:spPr>
          <c:invertIfNegative val="0"/>
          <c:cat>
            <c:numRef>
              <c:f>'Material ext and productivity '!$B$30:$BD$30</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Material ext and productivity '!$B$31:$BD$31</c:f>
              <c:numCache>
                <c:formatCode>_-* #,##0_-;\-* #,##0_-;_-* "-"??_-;_-@_-</c:formatCode>
                <c:ptCount val="55"/>
                <c:pt idx="0">
                  <c:v>12581.71182</c:v>
                </c:pt>
                <c:pt idx="1">
                  <c:v>12825.62559</c:v>
                </c:pt>
                <c:pt idx="2">
                  <c:v>12774.7521</c:v>
                </c:pt>
                <c:pt idx="3">
                  <c:v>13386.19268</c:v>
                </c:pt>
                <c:pt idx="4">
                  <c:v>13479.06097</c:v>
                </c:pt>
                <c:pt idx="5">
                  <c:v>13681.1816</c:v>
                </c:pt>
                <c:pt idx="6">
                  <c:v>14118.464029999999</c:v>
                </c:pt>
                <c:pt idx="7">
                  <c:v>14251.946309999999</c:v>
                </c:pt>
                <c:pt idx="8">
                  <c:v>14675.82886</c:v>
                </c:pt>
                <c:pt idx="9">
                  <c:v>14570.102199999999</c:v>
                </c:pt>
                <c:pt idx="10">
                  <c:v>14560.756810000001</c:v>
                </c:pt>
                <c:pt idx="11">
                  <c:v>14976.13019</c:v>
                </c:pt>
                <c:pt idx="12">
                  <c:v>15426.238520000001</c:v>
                </c:pt>
                <c:pt idx="13">
                  <c:v>15375.076719999999</c:v>
                </c:pt>
                <c:pt idx="14">
                  <c:v>15957.286609999999</c:v>
                </c:pt>
                <c:pt idx="15">
                  <c:v>16092.782520000001</c:v>
                </c:pt>
                <c:pt idx="16">
                  <c:v>16255.144780000001</c:v>
                </c:pt>
                <c:pt idx="17">
                  <c:v>16344.65567</c:v>
                </c:pt>
                <c:pt idx="18">
                  <c:v>16341.08282</c:v>
                </c:pt>
                <c:pt idx="19">
                  <c:v>16879.841469999999</c:v>
                </c:pt>
                <c:pt idx="20">
                  <c:v>17206.578140000001</c:v>
                </c:pt>
                <c:pt idx="21">
                  <c:v>17102.80298</c:v>
                </c:pt>
                <c:pt idx="22">
                  <c:v>17250.943729999999</c:v>
                </c:pt>
                <c:pt idx="23">
                  <c:v>17086.635249999999</c:v>
                </c:pt>
                <c:pt idx="24">
                  <c:v>17319.432089999998</c:v>
                </c:pt>
                <c:pt idx="25">
                  <c:v>17531.029350000001</c:v>
                </c:pt>
                <c:pt idx="26">
                  <c:v>18094.35644</c:v>
                </c:pt>
                <c:pt idx="27">
                  <c:v>18145.338609999999</c:v>
                </c:pt>
                <c:pt idx="28">
                  <c:v>18475.801869999999</c:v>
                </c:pt>
                <c:pt idx="29">
                  <c:v>18706.84708</c:v>
                </c:pt>
                <c:pt idx="30">
                  <c:v>18806.030549999999</c:v>
                </c:pt>
                <c:pt idx="31">
                  <c:v>18962.092629999999</c:v>
                </c:pt>
                <c:pt idx="32">
                  <c:v>19134.703409999998</c:v>
                </c:pt>
                <c:pt idx="33">
                  <c:v>19504.627779999999</c:v>
                </c:pt>
                <c:pt idx="34">
                  <c:v>20201.803390000001</c:v>
                </c:pt>
                <c:pt idx="35">
                  <c:v>20356.05587</c:v>
                </c:pt>
                <c:pt idx="36">
                  <c:v>20699.777180000001</c:v>
                </c:pt>
                <c:pt idx="37">
                  <c:v>21317.152310000001</c:v>
                </c:pt>
                <c:pt idx="38">
                  <c:v>22076.0759</c:v>
                </c:pt>
                <c:pt idx="39">
                  <c:v>21807.936180000001</c:v>
                </c:pt>
                <c:pt idx="40">
                  <c:v>22136.15439</c:v>
                </c:pt>
                <c:pt idx="41">
                  <c:v>23002.339919999999</c:v>
                </c:pt>
                <c:pt idx="42">
                  <c:v>23143.149099999999</c:v>
                </c:pt>
                <c:pt idx="43">
                  <c:v>23992.003290000001</c:v>
                </c:pt>
                <c:pt idx="44">
                  <c:v>24364.43377</c:v>
                </c:pt>
                <c:pt idx="45">
                  <c:v>24515.467349999999</c:v>
                </c:pt>
                <c:pt idx="46">
                  <c:v>24833.140960000001</c:v>
                </c:pt>
                <c:pt idx="47">
                  <c:v>25297.60543</c:v>
                </c:pt>
                <c:pt idx="48">
                  <c:v>25356.921190000001</c:v>
                </c:pt>
                <c:pt idx="49">
                  <c:v>25753.050050000002</c:v>
                </c:pt>
                <c:pt idx="50">
                  <c:v>24833.768110000001</c:v>
                </c:pt>
                <c:pt idx="51">
                  <c:v>25623.591690000001</c:v>
                </c:pt>
                <c:pt idx="52">
                  <c:v>25952.691719999999</c:v>
                </c:pt>
                <c:pt idx="53">
                  <c:v>26207.842410000001</c:v>
                </c:pt>
                <c:pt idx="54">
                  <c:v>26573.283640000001</c:v>
                </c:pt>
              </c:numCache>
            </c:numRef>
          </c:val>
          <c:extLst>
            <c:ext xmlns:c16="http://schemas.microsoft.com/office/drawing/2014/chart" uri="{C3380CC4-5D6E-409C-BE32-E72D297353CC}">
              <c16:uniqueId val="{00000000-E16B-4533-8E1C-CE1EFEC99239}"/>
            </c:ext>
          </c:extLst>
        </c:ser>
        <c:ser>
          <c:idx val="1"/>
          <c:order val="1"/>
          <c:tx>
            <c:strRef>
              <c:f>'Material ext and productivity '!$A$32</c:f>
              <c:strCache>
                <c:ptCount val="1"/>
                <c:pt idx="0">
                  <c:v> Fossil Fuels </c:v>
                </c:pt>
              </c:strCache>
            </c:strRef>
          </c:tx>
          <c:spPr>
            <a:solidFill>
              <a:srgbClr val="7030A0"/>
            </a:solidFill>
            <a:ln>
              <a:noFill/>
            </a:ln>
            <a:effectLst/>
          </c:spPr>
          <c:invertIfNegative val="0"/>
          <c:cat>
            <c:numRef>
              <c:f>'Material ext and productivity '!$B$30:$BD$30</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Material ext and productivity '!$B$32:$BD$32</c:f>
              <c:numCache>
                <c:formatCode>_-* #,##0_-;\-* #,##0_-;_-* "-"??_-;_-@_-</c:formatCode>
                <c:ptCount val="55"/>
                <c:pt idx="0">
                  <c:v>6144.1257649999998</c:v>
                </c:pt>
                <c:pt idx="1">
                  <c:v>6298.9092039999996</c:v>
                </c:pt>
                <c:pt idx="2">
                  <c:v>6546.3901320000004</c:v>
                </c:pt>
                <c:pt idx="3">
                  <c:v>6853.066092</c:v>
                </c:pt>
                <c:pt idx="4">
                  <c:v>6877.4694920000002</c:v>
                </c:pt>
                <c:pt idx="5">
                  <c:v>6952.6580370000001</c:v>
                </c:pt>
                <c:pt idx="6">
                  <c:v>7268.7849399999996</c:v>
                </c:pt>
                <c:pt idx="7">
                  <c:v>7539.212775</c:v>
                </c:pt>
                <c:pt idx="8">
                  <c:v>7627.1604159999997</c:v>
                </c:pt>
                <c:pt idx="9">
                  <c:v>8084.8066760000002</c:v>
                </c:pt>
                <c:pt idx="10">
                  <c:v>8016.1243340000001</c:v>
                </c:pt>
                <c:pt idx="11">
                  <c:v>7901.8898810000001</c:v>
                </c:pt>
                <c:pt idx="12">
                  <c:v>7921.5845799999997</c:v>
                </c:pt>
                <c:pt idx="13">
                  <c:v>7961.7268539999995</c:v>
                </c:pt>
                <c:pt idx="14">
                  <c:v>8237.9753959999998</c:v>
                </c:pt>
                <c:pt idx="15">
                  <c:v>8419.8670079999993</c:v>
                </c:pt>
                <c:pt idx="16">
                  <c:v>8675.931525</c:v>
                </c:pt>
                <c:pt idx="17">
                  <c:v>8872.2937519999996</c:v>
                </c:pt>
                <c:pt idx="18">
                  <c:v>9172.3559370000003</c:v>
                </c:pt>
                <c:pt idx="19">
                  <c:v>9379.9534380000005</c:v>
                </c:pt>
                <c:pt idx="20">
                  <c:v>9345.3137690000003</c:v>
                </c:pt>
                <c:pt idx="21">
                  <c:v>9204.5069139999996</c:v>
                </c:pt>
                <c:pt idx="22">
                  <c:v>9071.8359220000002</c:v>
                </c:pt>
                <c:pt idx="23">
                  <c:v>9036.8280350000005</c:v>
                </c:pt>
                <c:pt idx="24">
                  <c:v>9201.4483500000006</c:v>
                </c:pt>
                <c:pt idx="25">
                  <c:v>9418.8459800000001</c:v>
                </c:pt>
                <c:pt idx="26">
                  <c:v>9640.9607159999996</c:v>
                </c:pt>
                <c:pt idx="27">
                  <c:v>9712.8478259999993</c:v>
                </c:pt>
                <c:pt idx="28">
                  <c:v>9802.3692159999991</c:v>
                </c:pt>
                <c:pt idx="29">
                  <c:v>9779.0672969999996</c:v>
                </c:pt>
                <c:pt idx="30">
                  <c:v>10067.9678</c:v>
                </c:pt>
                <c:pt idx="31">
                  <c:v>10363.39381</c:v>
                </c:pt>
                <c:pt idx="32">
                  <c:v>10491.08145</c:v>
                </c:pt>
                <c:pt idx="33">
                  <c:v>11052.200409999999</c:v>
                </c:pt>
                <c:pt idx="34">
                  <c:v>11612.58375</c:v>
                </c:pt>
                <c:pt idx="35">
                  <c:v>12049.539430000001</c:v>
                </c:pt>
                <c:pt idx="36">
                  <c:v>12604.800209999999</c:v>
                </c:pt>
                <c:pt idx="37">
                  <c:v>13057.99763</c:v>
                </c:pt>
                <c:pt idx="38">
                  <c:v>13347.930829999999</c:v>
                </c:pt>
                <c:pt idx="39">
                  <c:v>13400.54081</c:v>
                </c:pt>
                <c:pt idx="40">
                  <c:v>14049.69031</c:v>
                </c:pt>
                <c:pt idx="41">
                  <c:v>14703.354359999999</c:v>
                </c:pt>
                <c:pt idx="42">
                  <c:v>14952.52262</c:v>
                </c:pt>
                <c:pt idx="43">
                  <c:v>15083.009040000001</c:v>
                </c:pt>
                <c:pt idx="44">
                  <c:v>15155.391869999999</c:v>
                </c:pt>
                <c:pt idx="45">
                  <c:v>15117.37887</c:v>
                </c:pt>
                <c:pt idx="46">
                  <c:v>14675.836079999999</c:v>
                </c:pt>
                <c:pt idx="47">
                  <c:v>15194.5162</c:v>
                </c:pt>
                <c:pt idx="48">
                  <c:v>15616.511189999999</c:v>
                </c:pt>
                <c:pt idx="49">
                  <c:v>15882.23027</c:v>
                </c:pt>
                <c:pt idx="50">
                  <c:v>15371.11126</c:v>
                </c:pt>
                <c:pt idx="51">
                  <c:v>16049.98979</c:v>
                </c:pt>
                <c:pt idx="52">
                  <c:v>16369.81105</c:v>
                </c:pt>
                <c:pt idx="53">
                  <c:v>16684.50332</c:v>
                </c:pt>
                <c:pt idx="54">
                  <c:v>17025.29161</c:v>
                </c:pt>
              </c:numCache>
            </c:numRef>
          </c:val>
          <c:extLst>
            <c:ext xmlns:c16="http://schemas.microsoft.com/office/drawing/2014/chart" uri="{C3380CC4-5D6E-409C-BE32-E72D297353CC}">
              <c16:uniqueId val="{00000001-E16B-4533-8E1C-CE1EFEC99239}"/>
            </c:ext>
          </c:extLst>
        </c:ser>
        <c:ser>
          <c:idx val="2"/>
          <c:order val="2"/>
          <c:tx>
            <c:strRef>
              <c:f>'Material ext and productivity '!$A$33</c:f>
              <c:strCache>
                <c:ptCount val="1"/>
                <c:pt idx="0">
                  <c:v> Metal Ores </c:v>
                </c:pt>
              </c:strCache>
            </c:strRef>
          </c:tx>
          <c:spPr>
            <a:solidFill>
              <a:schemeClr val="tx1"/>
            </a:solidFill>
            <a:ln>
              <a:noFill/>
            </a:ln>
            <a:effectLst/>
          </c:spPr>
          <c:invertIfNegative val="0"/>
          <c:cat>
            <c:numRef>
              <c:f>'Material ext and productivity '!$B$30:$BD$30</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Material ext and productivity '!$B$33:$BD$33</c:f>
              <c:numCache>
                <c:formatCode>_-* #,##0_-;\-* #,##0_-;_-* "-"??_-;_-@_-</c:formatCode>
                <c:ptCount val="55"/>
                <c:pt idx="0">
                  <c:v>2655.7349079999999</c:v>
                </c:pt>
                <c:pt idx="1">
                  <c:v>2669.0727710000001</c:v>
                </c:pt>
                <c:pt idx="2">
                  <c:v>2792.1687489999999</c:v>
                </c:pt>
                <c:pt idx="3">
                  <c:v>2929.0514370000001</c:v>
                </c:pt>
                <c:pt idx="4">
                  <c:v>2926.3663839999999</c:v>
                </c:pt>
                <c:pt idx="5">
                  <c:v>2809.949466</c:v>
                </c:pt>
                <c:pt idx="6">
                  <c:v>2902.3965490000001</c:v>
                </c:pt>
                <c:pt idx="7">
                  <c:v>2824.05161</c:v>
                </c:pt>
                <c:pt idx="8">
                  <c:v>2828.1692589999998</c:v>
                </c:pt>
                <c:pt idx="9">
                  <c:v>2917.2602219999999</c:v>
                </c:pt>
                <c:pt idx="10">
                  <c:v>2917.9304630000001</c:v>
                </c:pt>
                <c:pt idx="11">
                  <c:v>2957.8562470000002</c:v>
                </c:pt>
                <c:pt idx="12">
                  <c:v>2881.5862339999999</c:v>
                </c:pt>
                <c:pt idx="13">
                  <c:v>2911.8880349999999</c:v>
                </c:pt>
                <c:pt idx="14">
                  <c:v>3138.2448519999998</c:v>
                </c:pt>
                <c:pt idx="15">
                  <c:v>3267.6819209999999</c:v>
                </c:pt>
                <c:pt idx="16">
                  <c:v>3349.9089199999999</c:v>
                </c:pt>
                <c:pt idx="17">
                  <c:v>3513.872445</c:v>
                </c:pt>
                <c:pt idx="18">
                  <c:v>3712.6312720000001</c:v>
                </c:pt>
                <c:pt idx="19">
                  <c:v>3850.2250720000002</c:v>
                </c:pt>
                <c:pt idx="20">
                  <c:v>3941.8051059999998</c:v>
                </c:pt>
                <c:pt idx="21">
                  <c:v>3854.0111969999998</c:v>
                </c:pt>
                <c:pt idx="22">
                  <c:v>3956.514858</c:v>
                </c:pt>
                <c:pt idx="23">
                  <c:v>3963.7469489999999</c:v>
                </c:pt>
                <c:pt idx="24">
                  <c:v>4020.4957669999999</c:v>
                </c:pt>
                <c:pt idx="25">
                  <c:v>4178.5944849999996</c:v>
                </c:pt>
                <c:pt idx="26">
                  <c:v>4308.2078339999998</c:v>
                </c:pt>
                <c:pt idx="27">
                  <c:v>4558.1209870000002</c:v>
                </c:pt>
                <c:pt idx="28">
                  <c:v>4690.0644570000004</c:v>
                </c:pt>
                <c:pt idx="29">
                  <c:v>4759.07852</c:v>
                </c:pt>
                <c:pt idx="30">
                  <c:v>5013.9220969999997</c:v>
                </c:pt>
                <c:pt idx="31">
                  <c:v>5072.1968610000004</c:v>
                </c:pt>
                <c:pt idx="32">
                  <c:v>5111.8288640000001</c:v>
                </c:pt>
                <c:pt idx="33">
                  <c:v>5308.1189180000001</c:v>
                </c:pt>
                <c:pt idx="34">
                  <c:v>5617.1090860000004</c:v>
                </c:pt>
                <c:pt idx="35">
                  <c:v>5959.0108579999996</c:v>
                </c:pt>
                <c:pt idx="36">
                  <c:v>6327.0646049999996</c:v>
                </c:pt>
                <c:pt idx="37">
                  <c:v>6674.5024549999998</c:v>
                </c:pt>
                <c:pt idx="38">
                  <c:v>6899.0459520000004</c:v>
                </c:pt>
                <c:pt idx="39">
                  <c:v>7033.3339839999999</c:v>
                </c:pt>
                <c:pt idx="40">
                  <c:v>7642.3701019999999</c:v>
                </c:pt>
                <c:pt idx="41">
                  <c:v>8223.9944840000007</c:v>
                </c:pt>
                <c:pt idx="42">
                  <c:v>8424.8969369999995</c:v>
                </c:pt>
                <c:pt idx="43">
                  <c:v>9028.6779330000008</c:v>
                </c:pt>
                <c:pt idx="44">
                  <c:v>9347.1192530000008</c:v>
                </c:pt>
                <c:pt idx="45">
                  <c:v>9405.3817060000001</c:v>
                </c:pt>
                <c:pt idx="46">
                  <c:v>9607.0045320000008</c:v>
                </c:pt>
                <c:pt idx="47">
                  <c:v>9684.8064489999997</c:v>
                </c:pt>
                <c:pt idx="48">
                  <c:v>9397.0919819999999</c:v>
                </c:pt>
                <c:pt idx="49">
                  <c:v>9709.9193630000009</c:v>
                </c:pt>
                <c:pt idx="50">
                  <c:v>9599.7708820000007</c:v>
                </c:pt>
                <c:pt idx="51">
                  <c:v>10021.05306</c:v>
                </c:pt>
                <c:pt idx="52">
                  <c:v>10260.9321</c:v>
                </c:pt>
                <c:pt idx="53">
                  <c:v>10512.81191</c:v>
                </c:pt>
                <c:pt idx="54">
                  <c:v>10805.880160000001</c:v>
                </c:pt>
              </c:numCache>
            </c:numRef>
          </c:val>
          <c:extLst>
            <c:ext xmlns:c16="http://schemas.microsoft.com/office/drawing/2014/chart" uri="{C3380CC4-5D6E-409C-BE32-E72D297353CC}">
              <c16:uniqueId val="{00000002-E16B-4533-8E1C-CE1EFEC99239}"/>
            </c:ext>
          </c:extLst>
        </c:ser>
        <c:ser>
          <c:idx val="3"/>
          <c:order val="3"/>
          <c:tx>
            <c:strRef>
              <c:f>'Material ext and productivity '!$A$34</c:f>
              <c:strCache>
                <c:ptCount val="1"/>
                <c:pt idx="0">
                  <c:v> Non-Metallic Minerals </c:v>
                </c:pt>
              </c:strCache>
            </c:strRef>
          </c:tx>
          <c:spPr>
            <a:solidFill>
              <a:schemeClr val="accent1"/>
            </a:solidFill>
            <a:ln>
              <a:noFill/>
            </a:ln>
            <a:effectLst/>
          </c:spPr>
          <c:invertIfNegative val="0"/>
          <c:cat>
            <c:numRef>
              <c:f>'Material ext and productivity '!$B$30:$BD$30</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Material ext and productivity '!$B$34:$BD$34</c:f>
              <c:numCache>
                <c:formatCode>_-* #,##0_-;\-* #,##0_-;_-* "-"??_-;_-@_-</c:formatCode>
                <c:ptCount val="55"/>
                <c:pt idx="0">
                  <c:v>9560.8048440000002</c:v>
                </c:pt>
                <c:pt idx="1">
                  <c:v>10159.85174</c:v>
                </c:pt>
                <c:pt idx="2">
                  <c:v>10588.952799999999</c:v>
                </c:pt>
                <c:pt idx="3">
                  <c:v>11368.72445</c:v>
                </c:pt>
                <c:pt idx="4">
                  <c:v>11329.75481</c:v>
                </c:pt>
                <c:pt idx="5">
                  <c:v>10937.16138</c:v>
                </c:pt>
                <c:pt idx="6">
                  <c:v>11437.248509999999</c:v>
                </c:pt>
                <c:pt idx="7">
                  <c:v>11999.700720000001</c:v>
                </c:pt>
                <c:pt idx="8">
                  <c:v>12920.700510000001</c:v>
                </c:pt>
                <c:pt idx="9">
                  <c:v>13097.593940000001</c:v>
                </c:pt>
                <c:pt idx="10">
                  <c:v>12959.22228</c:v>
                </c:pt>
                <c:pt idx="11">
                  <c:v>12582.67995</c:v>
                </c:pt>
                <c:pt idx="12">
                  <c:v>12368.74641</c:v>
                </c:pt>
                <c:pt idx="13">
                  <c:v>13009.856309999999</c:v>
                </c:pt>
                <c:pt idx="14">
                  <c:v>13526.21701</c:v>
                </c:pt>
                <c:pt idx="15">
                  <c:v>14250.46046</c:v>
                </c:pt>
                <c:pt idx="16">
                  <c:v>15008.48186</c:v>
                </c:pt>
                <c:pt idx="17">
                  <c:v>15951.558499999999</c:v>
                </c:pt>
                <c:pt idx="18">
                  <c:v>16852.980240000001</c:v>
                </c:pt>
                <c:pt idx="19">
                  <c:v>16851.853930000001</c:v>
                </c:pt>
                <c:pt idx="20">
                  <c:v>16944.429649999998</c:v>
                </c:pt>
                <c:pt idx="21">
                  <c:v>16817.295279999998</c:v>
                </c:pt>
                <c:pt idx="22">
                  <c:v>18193.141370000001</c:v>
                </c:pt>
                <c:pt idx="23">
                  <c:v>19154.536940000002</c:v>
                </c:pt>
                <c:pt idx="24">
                  <c:v>20147.192009999999</c:v>
                </c:pt>
                <c:pt idx="25">
                  <c:v>20987.954170000001</c:v>
                </c:pt>
                <c:pt idx="26">
                  <c:v>21277.45262</c:v>
                </c:pt>
                <c:pt idx="27">
                  <c:v>21961.39587</c:v>
                </c:pt>
                <c:pt idx="28">
                  <c:v>22599.731820000001</c:v>
                </c:pt>
                <c:pt idx="29">
                  <c:v>23366.00692</c:v>
                </c:pt>
                <c:pt idx="30">
                  <c:v>23954.121770000002</c:v>
                </c:pt>
                <c:pt idx="31">
                  <c:v>24381.792870000001</c:v>
                </c:pt>
                <c:pt idx="32">
                  <c:v>25272.55847</c:v>
                </c:pt>
                <c:pt idx="33">
                  <c:v>26568.396779999999</c:v>
                </c:pt>
                <c:pt idx="34">
                  <c:v>28359.050910000002</c:v>
                </c:pt>
                <c:pt idx="35">
                  <c:v>29941.904630000001</c:v>
                </c:pt>
                <c:pt idx="36">
                  <c:v>31792.21358</c:v>
                </c:pt>
                <c:pt idx="37">
                  <c:v>33205.414969999998</c:v>
                </c:pt>
                <c:pt idx="38">
                  <c:v>33048.749880000003</c:v>
                </c:pt>
                <c:pt idx="39">
                  <c:v>33503.823759999999</c:v>
                </c:pt>
                <c:pt idx="40">
                  <c:v>36100.514819999997</c:v>
                </c:pt>
                <c:pt idx="41">
                  <c:v>39067.065470000001</c:v>
                </c:pt>
                <c:pt idx="42">
                  <c:v>41221.998820000001</c:v>
                </c:pt>
                <c:pt idx="43">
                  <c:v>42781.997790000001</c:v>
                </c:pt>
                <c:pt idx="44">
                  <c:v>43474.627959999998</c:v>
                </c:pt>
                <c:pt idx="45">
                  <c:v>43153.310949999999</c:v>
                </c:pt>
                <c:pt idx="46">
                  <c:v>43344.541870000001</c:v>
                </c:pt>
                <c:pt idx="47">
                  <c:v>43421.630100000002</c:v>
                </c:pt>
                <c:pt idx="48">
                  <c:v>43614.076540000002</c:v>
                </c:pt>
                <c:pt idx="49">
                  <c:v>44843.541429999997</c:v>
                </c:pt>
                <c:pt idx="50">
                  <c:v>45294.662109999997</c:v>
                </c:pt>
                <c:pt idx="51">
                  <c:v>47399.967299999997</c:v>
                </c:pt>
                <c:pt idx="52">
                  <c:v>48833.845679999999</c:v>
                </c:pt>
                <c:pt idx="53">
                  <c:v>50442.845170000001</c:v>
                </c:pt>
                <c:pt idx="54">
                  <c:v>52320.333350000001</c:v>
                </c:pt>
              </c:numCache>
            </c:numRef>
          </c:val>
          <c:extLst>
            <c:ext xmlns:c16="http://schemas.microsoft.com/office/drawing/2014/chart" uri="{C3380CC4-5D6E-409C-BE32-E72D297353CC}">
              <c16:uniqueId val="{00000003-E16B-4533-8E1C-CE1EFEC99239}"/>
            </c:ext>
          </c:extLst>
        </c:ser>
        <c:dLbls>
          <c:showLegendKey val="0"/>
          <c:showVal val="0"/>
          <c:showCatName val="0"/>
          <c:showSerName val="0"/>
          <c:showPercent val="0"/>
          <c:showBubbleSize val="0"/>
        </c:dLbls>
        <c:gapWidth val="219"/>
        <c:overlap val="100"/>
        <c:axId val="1487000320"/>
        <c:axId val="1416449072"/>
      </c:barChart>
      <c:lineChart>
        <c:grouping val="standard"/>
        <c:varyColors val="0"/>
        <c:ser>
          <c:idx val="4"/>
          <c:order val="4"/>
          <c:tx>
            <c:strRef>
              <c:f>'Material ext and productivity '!$A$38</c:f>
              <c:strCache>
                <c:ptCount val="1"/>
                <c:pt idx="0">
                  <c:v> Material productivity </c:v>
                </c:pt>
              </c:strCache>
            </c:strRef>
          </c:tx>
          <c:spPr>
            <a:ln w="19050" cap="rnd">
              <a:solidFill>
                <a:srgbClr val="FF0000"/>
              </a:solidFill>
              <a:round/>
            </a:ln>
            <a:effectLst/>
          </c:spPr>
          <c:marker>
            <c:symbol val="none"/>
          </c:marker>
          <c:cat>
            <c:numRef>
              <c:f>'Material ext and productivity '!$B$30:$BD$30</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Material ext and productivity '!$B$38:$BD$38</c:f>
              <c:numCache>
                <c:formatCode>General</c:formatCode>
                <c:ptCount val="55"/>
                <c:pt idx="0">
                  <c:v>1</c:v>
                </c:pt>
                <c:pt idx="1">
                  <c:v>1.011069016601136</c:v>
                </c:pt>
                <c:pt idx="2">
                  <c:v>1.0426266228136427</c:v>
                </c:pt>
                <c:pt idx="3">
                  <c:v>1.0426213600382792</c:v>
                </c:pt>
                <c:pt idx="4">
                  <c:v>1.0636442876560637</c:v>
                </c:pt>
                <c:pt idx="5">
                  <c:v>1.0750287362619919</c:v>
                </c:pt>
                <c:pt idx="6">
                  <c:v>1.0902537507897898</c:v>
                </c:pt>
                <c:pt idx="7">
                  <c:v>1.1070629794920557</c:v>
                </c:pt>
                <c:pt idx="8">
                  <c:v>1.107027814144683</c:v>
                </c:pt>
                <c:pt idx="9">
                  <c:v>1.137882339581634</c:v>
                </c:pt>
                <c:pt idx="10">
                  <c:v>1.1621803287743731</c:v>
                </c:pt>
                <c:pt idx="11">
                  <c:v>1.1830626213163353</c:v>
                </c:pt>
                <c:pt idx="12">
                  <c:v>1.1780397607754061</c:v>
                </c:pt>
                <c:pt idx="13">
                  <c:v>1.1905274738931189</c:v>
                </c:pt>
                <c:pt idx="14">
                  <c:v>1.1953653517491956</c:v>
                </c:pt>
                <c:pt idx="15">
                  <c:v>1.2027658255851204</c:v>
                </c:pt>
                <c:pt idx="16">
                  <c:v>1.2055247308097128</c:v>
                </c:pt>
                <c:pt idx="17">
                  <c:v>1.208186425216262</c:v>
                </c:pt>
                <c:pt idx="18">
                  <c:v>1.2256857826958525</c:v>
                </c:pt>
                <c:pt idx="19">
                  <c:v>1.2449122324267883</c:v>
                </c:pt>
                <c:pt idx="20">
                  <c:v>1.2822768964168854</c:v>
                </c:pt>
                <c:pt idx="21">
                  <c:v>1.2965079269099105</c:v>
                </c:pt>
                <c:pt idx="22">
                  <c:v>1.2812012444948429</c:v>
                </c:pt>
                <c:pt idx="23">
                  <c:v>1.2827689276951939</c:v>
                </c:pt>
                <c:pt idx="24">
                  <c:v>1.2855021376221052</c:v>
                </c:pt>
                <c:pt idx="25">
                  <c:v>1.290720159578475</c:v>
                </c:pt>
                <c:pt idx="26">
                  <c:v>1.3039350563286105</c:v>
                </c:pt>
                <c:pt idx="27">
                  <c:v>1.3338093863725529</c:v>
                </c:pt>
                <c:pt idx="28">
                  <c:v>1.3414599685257762</c:v>
                </c:pt>
                <c:pt idx="29">
                  <c:v>1.3587822353933108</c:v>
                </c:pt>
                <c:pt idx="30">
                  <c:v>1.3848864185995633</c:v>
                </c:pt>
                <c:pt idx="31">
                  <c:v>1.3973603623653628</c:v>
                </c:pt>
                <c:pt idx="32">
                  <c:v>1.3972456027168547</c:v>
                </c:pt>
                <c:pt idx="33">
                  <c:v>1.3847646747375606</c:v>
                </c:pt>
                <c:pt idx="34">
                  <c:v>1.3738238306022954</c:v>
                </c:pt>
                <c:pt idx="35">
                  <c:v>1.3797155538252786</c:v>
                </c:pt>
                <c:pt idx="36">
                  <c:v>1.3748671984013729</c:v>
                </c:pt>
                <c:pt idx="37">
                  <c:v>1.3792309769637374</c:v>
                </c:pt>
                <c:pt idx="38">
                  <c:v>1.3888311789639762</c:v>
                </c:pt>
                <c:pt idx="39">
                  <c:v>1.361098932876065</c:v>
                </c:pt>
                <c:pt idx="40">
                  <c:v>1.3519922170598451</c:v>
                </c:pt>
                <c:pt idx="41">
                  <c:v>1.3112921745684734</c:v>
                </c:pt>
                <c:pt idx="42">
                  <c:v>1.3057804592928244</c:v>
                </c:pt>
                <c:pt idx="43">
                  <c:v>1.2987130474559512</c:v>
                </c:pt>
                <c:pt idx="44">
                  <c:v>1.3150457680522196</c:v>
                </c:pt>
                <c:pt idx="45">
                  <c:v>1.3571332964022094</c:v>
                </c:pt>
                <c:pt idx="46">
                  <c:v>1.3924627721975347</c:v>
                </c:pt>
                <c:pt idx="47">
                  <c:v>1.4207956746295325</c:v>
                </c:pt>
                <c:pt idx="48">
                  <c:v>1.4597407314065847</c:v>
                </c:pt>
                <c:pt idx="49">
                  <c:v>1.4637788679569523</c:v>
                </c:pt>
                <c:pt idx="50">
                  <c:v>1.4274706706021183</c:v>
                </c:pt>
                <c:pt idx="51">
                  <c:v>1.4496858811954756</c:v>
                </c:pt>
                <c:pt idx="52">
                  <c:v>1.4660325493007174</c:v>
                </c:pt>
                <c:pt idx="53">
                  <c:v>1.474944187967645</c:v>
                </c:pt>
                <c:pt idx="54">
                  <c:v>1.474814905383</c:v>
                </c:pt>
              </c:numCache>
            </c:numRef>
          </c:val>
          <c:smooth val="0"/>
          <c:extLst>
            <c:ext xmlns:c16="http://schemas.microsoft.com/office/drawing/2014/chart" uri="{C3380CC4-5D6E-409C-BE32-E72D297353CC}">
              <c16:uniqueId val="{00000004-E16B-4533-8E1C-CE1EFEC99239}"/>
            </c:ext>
          </c:extLst>
        </c:ser>
        <c:dLbls>
          <c:showLegendKey val="0"/>
          <c:showVal val="0"/>
          <c:showCatName val="0"/>
          <c:showSerName val="0"/>
          <c:showPercent val="0"/>
          <c:showBubbleSize val="0"/>
        </c:dLbls>
        <c:marker val="1"/>
        <c:smooth val="0"/>
        <c:axId val="1486992160"/>
        <c:axId val="1416446096"/>
      </c:lineChart>
      <c:catAx>
        <c:axId val="148700032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6449072"/>
        <c:crosses val="autoZero"/>
        <c:auto val="1"/>
        <c:lblAlgn val="ctr"/>
        <c:lblOffset val="100"/>
        <c:noMultiLvlLbl val="0"/>
      </c:catAx>
      <c:valAx>
        <c:axId val="14164490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Million</a:t>
                </a:r>
                <a:r>
                  <a:rPr lang="en-GB" baseline="0"/>
                  <a:t> tonnes</a:t>
                </a:r>
                <a:endParaRPr lang="en-GB"/>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7000320"/>
        <c:crosses val="autoZero"/>
        <c:crossBetween val="between"/>
      </c:valAx>
      <c:valAx>
        <c:axId val="1416446096"/>
        <c:scaling>
          <c:orientation val="minMax"/>
          <c:max val="2.5"/>
          <c:min val="0.5"/>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Material</a:t>
                </a:r>
                <a:r>
                  <a:rPr lang="en-GB" baseline="0"/>
                  <a:t> productivity (1970 = 1)</a:t>
                </a:r>
                <a:endParaRPr lang="en-GB"/>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86992160"/>
        <c:crosses val="max"/>
        <c:crossBetween val="between"/>
        <c:majorUnit val="0.25"/>
      </c:valAx>
      <c:catAx>
        <c:axId val="1486992160"/>
        <c:scaling>
          <c:orientation val="minMax"/>
        </c:scaling>
        <c:delete val="1"/>
        <c:axPos val="b"/>
        <c:numFmt formatCode="General" sourceLinked="1"/>
        <c:majorTickMark val="out"/>
        <c:minorTickMark val="none"/>
        <c:tickLblPos val="nextTo"/>
        <c:crossAx val="141644609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101740294511375E-2"/>
          <c:y val="4.1814088131231907E-2"/>
          <c:w val="0.84069611780455156"/>
          <c:h val="0.85525892569958184"/>
        </c:manualLayout>
      </c:layout>
      <c:scatterChart>
        <c:scatterStyle val="lineMarker"/>
        <c:varyColors val="0"/>
        <c:ser>
          <c:idx val="0"/>
          <c:order val="0"/>
          <c:spPr>
            <a:ln w="19050" cmpd="sng" algn="ctr">
              <a:solidFill>
                <a:schemeClr val="accent1"/>
              </a:solidFill>
              <a:prstDash val="solid"/>
            </a:ln>
          </c:spPr>
          <c:marker>
            <c:symbol val="none"/>
          </c:marker>
          <c:xVal>
            <c:numRef>
              <c:f>Sheet1!$A$1:$BC$1</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xVal>
          <c:yVal>
            <c:numRef>
              <c:f>Sheet1!$A$2:$BC$2</c:f>
              <c:numCache>
                <c:formatCode>General</c:formatCode>
                <c:ptCount val="55"/>
                <c:pt idx="0">
                  <c:v>1</c:v>
                </c:pt>
                <c:pt idx="1">
                  <c:v>1.011069016601136</c:v>
                </c:pt>
                <c:pt idx="2">
                  <c:v>1.0426266228136427</c:v>
                </c:pt>
                <c:pt idx="3">
                  <c:v>1.0426213600382792</c:v>
                </c:pt>
                <c:pt idx="4">
                  <c:v>1.0636442876560637</c:v>
                </c:pt>
                <c:pt idx="5">
                  <c:v>1.0750287362619919</c:v>
                </c:pt>
                <c:pt idx="6">
                  <c:v>1.0902537507897898</c:v>
                </c:pt>
                <c:pt idx="7">
                  <c:v>1.1070629794920557</c:v>
                </c:pt>
                <c:pt idx="8">
                  <c:v>1.107027814144683</c:v>
                </c:pt>
                <c:pt idx="9">
                  <c:v>1.137882339581634</c:v>
                </c:pt>
                <c:pt idx="10">
                  <c:v>1.1621803287743731</c:v>
                </c:pt>
                <c:pt idx="11">
                  <c:v>1.1830626213163353</c:v>
                </c:pt>
                <c:pt idx="12">
                  <c:v>1.1780397607754061</c:v>
                </c:pt>
                <c:pt idx="13">
                  <c:v>1.1905274738931189</c:v>
                </c:pt>
                <c:pt idx="14">
                  <c:v>1.1953653517491956</c:v>
                </c:pt>
                <c:pt idx="15">
                  <c:v>1.2027658255851204</c:v>
                </c:pt>
                <c:pt idx="16">
                  <c:v>1.2055247308097128</c:v>
                </c:pt>
                <c:pt idx="17">
                  <c:v>1.208186425216262</c:v>
                </c:pt>
                <c:pt idx="18">
                  <c:v>1.2256857826958525</c:v>
                </c:pt>
                <c:pt idx="19">
                  <c:v>1.2449122324267883</c:v>
                </c:pt>
                <c:pt idx="20">
                  <c:v>1.2822768964168854</c:v>
                </c:pt>
                <c:pt idx="21">
                  <c:v>1.2965079269099105</c:v>
                </c:pt>
                <c:pt idx="22">
                  <c:v>1.2812012444948429</c:v>
                </c:pt>
                <c:pt idx="23">
                  <c:v>1.2827689276951939</c:v>
                </c:pt>
                <c:pt idx="24">
                  <c:v>1.2855021376221052</c:v>
                </c:pt>
                <c:pt idx="25">
                  <c:v>1.290720159578475</c:v>
                </c:pt>
                <c:pt idx="26">
                  <c:v>1.3039350563286105</c:v>
                </c:pt>
                <c:pt idx="27">
                  <c:v>1.3338093863725529</c:v>
                </c:pt>
                <c:pt idx="28">
                  <c:v>1.3414599685257762</c:v>
                </c:pt>
                <c:pt idx="29">
                  <c:v>1.3587822353933108</c:v>
                </c:pt>
                <c:pt idx="30">
                  <c:v>1.3848864185995633</c:v>
                </c:pt>
                <c:pt idx="31">
                  <c:v>1.3973603623653628</c:v>
                </c:pt>
                <c:pt idx="32">
                  <c:v>1.3972456027168547</c:v>
                </c:pt>
                <c:pt idx="33">
                  <c:v>1.3847646747375606</c:v>
                </c:pt>
                <c:pt idx="34">
                  <c:v>1.3738238306022954</c:v>
                </c:pt>
                <c:pt idx="35">
                  <c:v>1.3797155538252786</c:v>
                </c:pt>
                <c:pt idx="36">
                  <c:v>1.3748671984013729</c:v>
                </c:pt>
                <c:pt idx="37">
                  <c:v>1.3792309769637374</c:v>
                </c:pt>
                <c:pt idx="38">
                  <c:v>1.3888311789639762</c:v>
                </c:pt>
                <c:pt idx="39">
                  <c:v>1.361098932876065</c:v>
                </c:pt>
                <c:pt idx="40">
                  <c:v>1.3519922170598451</c:v>
                </c:pt>
                <c:pt idx="41">
                  <c:v>1.3112921745684734</c:v>
                </c:pt>
                <c:pt idx="42">
                  <c:v>1.3057804592928244</c:v>
                </c:pt>
                <c:pt idx="43">
                  <c:v>1.2987130474559512</c:v>
                </c:pt>
                <c:pt idx="44">
                  <c:v>1.3150457680522196</c:v>
                </c:pt>
                <c:pt idx="45">
                  <c:v>1.3571332964022094</c:v>
                </c:pt>
                <c:pt idx="46">
                  <c:v>1.3924627721975347</c:v>
                </c:pt>
                <c:pt idx="47">
                  <c:v>1.4207956746295325</c:v>
                </c:pt>
                <c:pt idx="48">
                  <c:v>1.4597407314065847</c:v>
                </c:pt>
                <c:pt idx="49">
                  <c:v>1.4637788679569523</c:v>
                </c:pt>
                <c:pt idx="50">
                  <c:v>1.4274706706021183</c:v>
                </c:pt>
                <c:pt idx="51">
                  <c:v>1.4496858811954756</c:v>
                </c:pt>
                <c:pt idx="52">
                  <c:v>1.4660325493007174</c:v>
                </c:pt>
                <c:pt idx="53">
                  <c:v>1.474944187967645</c:v>
                </c:pt>
                <c:pt idx="54">
                  <c:v>1.474814905383</c:v>
                </c:pt>
              </c:numCache>
            </c:numRef>
          </c:yVal>
          <c:smooth val="0"/>
          <c:extLst>
            <c:ext xmlns:c16="http://schemas.microsoft.com/office/drawing/2014/chart" uri="{C3380CC4-5D6E-409C-BE32-E72D297353CC}">
              <c16:uniqueId val="{00000000-5913-42D2-8095-E5D67EB231CD}"/>
            </c:ext>
          </c:extLst>
        </c:ser>
        <c:ser>
          <c:idx val="1"/>
          <c:order val="1"/>
          <c:spPr>
            <a:ln w="19050" cmpd="sng" algn="ctr">
              <a:solidFill>
                <a:schemeClr val="accent2"/>
              </a:solidFill>
              <a:prstDash val="solid"/>
            </a:ln>
          </c:spPr>
          <c:marker>
            <c:symbol val="none"/>
          </c:marker>
          <c:xVal>
            <c:numRef>
              <c:f>Sheet1!$A$1:$BC$1</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xVal>
          <c:yVal>
            <c:numRef>
              <c:f>Sheet1!$A$3:$BC$3</c:f>
              <c:numCache>
                <c:formatCode>General</c:formatCode>
                <c:ptCount val="55"/>
                <c:pt idx="0">
                  <c:v>1</c:v>
                </c:pt>
                <c:pt idx="1">
                  <c:v>1.0418881130539064</c:v>
                </c:pt>
                <c:pt idx="2">
                  <c:v>1.0580743202804388</c:v>
                </c:pt>
                <c:pt idx="3">
                  <c:v>1.0739262980519424</c:v>
                </c:pt>
                <c:pt idx="4">
                  <c:v>1.0959262661733682</c:v>
                </c:pt>
                <c:pt idx="5">
                  <c:v>1.1018671310774204</c:v>
                </c:pt>
                <c:pt idx="6">
                  <c:v>1.111872996246088</c:v>
                </c:pt>
                <c:pt idx="7">
                  <c:v>1.1311980272215316</c:v>
                </c:pt>
                <c:pt idx="8">
                  <c:v>1.155581387346476</c:v>
                </c:pt>
                <c:pt idx="9">
                  <c:v>1.1731336490819118</c:v>
                </c:pt>
                <c:pt idx="10">
                  <c:v>1.2065537086585694</c:v>
                </c:pt>
                <c:pt idx="11">
                  <c:v>1.2488034060674715</c:v>
                </c:pt>
                <c:pt idx="12">
                  <c:v>1.2635448417708444</c:v>
                </c:pt>
                <c:pt idx="13">
                  <c:v>1.2905486790221352</c:v>
                </c:pt>
                <c:pt idx="14">
                  <c:v>1.313974727351038</c:v>
                </c:pt>
                <c:pt idx="15">
                  <c:v>1.345417257600525</c:v>
                </c:pt>
                <c:pt idx="16">
                  <c:v>1.3670815940680436</c:v>
                </c:pt>
                <c:pt idx="17">
                  <c:v>1.3844548527042817</c:v>
                </c:pt>
                <c:pt idx="18">
                  <c:v>1.403442017897065</c:v>
                </c:pt>
                <c:pt idx="19">
                  <c:v>1.4285427030573106</c:v>
                </c:pt>
                <c:pt idx="20">
                  <c:v>1.4774264717623604</c:v>
                </c:pt>
                <c:pt idx="21">
                  <c:v>1.4789154599078442</c:v>
                </c:pt>
                <c:pt idx="22">
                  <c:v>1.5092612706020807</c:v>
                </c:pt>
                <c:pt idx="23">
                  <c:v>1.5322272957086132</c:v>
                </c:pt>
                <c:pt idx="24">
                  <c:v>1.5633291180293343</c:v>
                </c:pt>
                <c:pt idx="25">
                  <c:v>1.5709852181239312</c:v>
                </c:pt>
                <c:pt idx="26">
                  <c:v>1.5977072757319106</c:v>
                </c:pt>
                <c:pt idx="27">
                  <c:v>1.6427828973066165</c:v>
                </c:pt>
                <c:pt idx="28">
                  <c:v>1.6833180809335457</c:v>
                </c:pt>
                <c:pt idx="29">
                  <c:v>1.7294374415922893</c:v>
                </c:pt>
                <c:pt idx="30">
                  <c:v>1.7556512842249552</c:v>
                </c:pt>
                <c:pt idx="31">
                  <c:v>1.7789101531905256</c:v>
                </c:pt>
                <c:pt idx="32">
                  <c:v>1.7938989446753144</c:v>
                </c:pt>
                <c:pt idx="33">
                  <c:v>1.7746471834086872</c:v>
                </c:pt>
                <c:pt idx="34">
                  <c:v>1.7819702104438611</c:v>
                </c:pt>
                <c:pt idx="35">
                  <c:v>1.7950410907327148</c:v>
                </c:pt>
                <c:pt idx="36">
                  <c:v>1.8215469541667992</c:v>
                </c:pt>
                <c:pt idx="37">
                  <c:v>1.8447856018145008</c:v>
                </c:pt>
                <c:pt idx="38">
                  <c:v>1.8721125514594825</c:v>
                </c:pt>
                <c:pt idx="39">
                  <c:v>1.8618778234015008</c:v>
                </c:pt>
                <c:pt idx="40">
                  <c:v>1.8552805505053911</c:v>
                </c:pt>
                <c:pt idx="41">
                  <c:v>1.8611900935494303</c:v>
                </c:pt>
                <c:pt idx="42">
                  <c:v>1.8871904003224222</c:v>
                </c:pt>
                <c:pt idx="43">
                  <c:v>1.9153648041494458</c:v>
                </c:pt>
                <c:pt idx="44">
                  <c:v>1.9577940841843431</c:v>
                </c:pt>
                <c:pt idx="45">
                  <c:v>2.0212094473774402</c:v>
                </c:pt>
                <c:pt idx="46">
                  <c:v>2.0687148633888284</c:v>
                </c:pt>
                <c:pt idx="47">
                  <c:v>2.1023927061233159</c:v>
                </c:pt>
                <c:pt idx="48">
                  <c:v>2.1278398397412133</c:v>
                </c:pt>
                <c:pt idx="49">
                  <c:v>2.167457593124325</c:v>
                </c:pt>
                <c:pt idx="50">
                  <c:v>2.1695575995049672</c:v>
                </c:pt>
                <c:pt idx="51">
                  <c:v>2.2017424380609159</c:v>
                </c:pt>
                <c:pt idx="52">
                  <c:v>2.244926664049061</c:v>
                </c:pt>
                <c:pt idx="53">
                  <c:v>2.2791715746758747</c:v>
                </c:pt>
                <c:pt idx="54">
                  <c:v>2.3091551819061813</c:v>
                </c:pt>
              </c:numCache>
            </c:numRef>
          </c:yVal>
          <c:smooth val="0"/>
          <c:extLst>
            <c:ext xmlns:c16="http://schemas.microsoft.com/office/drawing/2014/chart" uri="{C3380CC4-5D6E-409C-BE32-E72D297353CC}">
              <c16:uniqueId val="{00000001-5913-42D2-8095-E5D67EB231CD}"/>
            </c:ext>
          </c:extLst>
        </c:ser>
        <c:ser>
          <c:idx val="2"/>
          <c:order val="2"/>
          <c:spPr>
            <a:ln w="19050" cmpd="sng" algn="ctr">
              <a:solidFill>
                <a:schemeClr val="accent3"/>
              </a:solidFill>
              <a:prstDash val="solid"/>
            </a:ln>
          </c:spPr>
          <c:marker>
            <c:symbol val="none"/>
          </c:marker>
          <c:xVal>
            <c:numRef>
              <c:f>Sheet1!$A$1:$BC$1</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xVal>
          <c:yVal>
            <c:numRef>
              <c:f>Sheet1!$A$4:$BC$4</c:f>
              <c:numCache>
                <c:formatCode>General</c:formatCode>
                <c:ptCount val="55"/>
                <c:pt idx="0">
                  <c:v>1</c:v>
                </c:pt>
                <c:pt idx="1">
                  <c:v>1.0029898750504078</c:v>
                </c:pt>
                <c:pt idx="2">
                  <c:v>1.0035031875831328</c:v>
                </c:pt>
                <c:pt idx="3">
                  <c:v>1.0086320121535342</c:v>
                </c:pt>
                <c:pt idx="4">
                  <c:v>1.0245190918593674</c:v>
                </c:pt>
                <c:pt idx="5">
                  <c:v>1.026583921501431</c:v>
                </c:pt>
                <c:pt idx="6">
                  <c:v>1.0253529244640824</c:v>
                </c:pt>
                <c:pt idx="7">
                  <c:v>1.0303363666484031</c:v>
                </c:pt>
                <c:pt idx="8">
                  <c:v>1.0316766400524318</c:v>
                </c:pt>
                <c:pt idx="9">
                  <c:v>1.038223753063849</c:v>
                </c:pt>
                <c:pt idx="10">
                  <c:v>1.0661438537722541</c:v>
                </c:pt>
                <c:pt idx="11">
                  <c:v>1.0907730871960146</c:v>
                </c:pt>
                <c:pt idx="12">
                  <c:v>1.100612386716856</c:v>
                </c:pt>
                <c:pt idx="13">
                  <c:v>1.1143065113310033</c:v>
                </c:pt>
                <c:pt idx="14">
                  <c:v>1.1126921904876717</c:v>
                </c:pt>
                <c:pt idx="15">
                  <c:v>1.122973905923063</c:v>
                </c:pt>
                <c:pt idx="16">
                  <c:v>1.1345513480591349</c:v>
                </c:pt>
                <c:pt idx="17">
                  <c:v>1.1369453223589534</c:v>
                </c:pt>
                <c:pt idx="18">
                  <c:v>1.1450770787388658</c:v>
                </c:pt>
                <c:pt idx="19">
                  <c:v>1.1645074263416004</c:v>
                </c:pt>
                <c:pt idx="20">
                  <c:v>1.1957397436047563</c:v>
                </c:pt>
                <c:pt idx="21">
                  <c:v>1.1917485623160993</c:v>
                </c:pt>
                <c:pt idx="22">
                  <c:v>1.2072740805947639</c:v>
                </c:pt>
                <c:pt idx="23">
                  <c:v>1.2195338471862476</c:v>
                </c:pt>
                <c:pt idx="24">
                  <c:v>1.2420959419512794</c:v>
                </c:pt>
                <c:pt idx="25">
                  <c:v>1.2524485354778312</c:v>
                </c:pt>
                <c:pt idx="26">
                  <c:v>1.2603038569126022</c:v>
                </c:pt>
                <c:pt idx="27">
                  <c:v>1.3002270145336376</c:v>
                </c:pt>
                <c:pt idx="28">
                  <c:v>1.3264480404624837</c:v>
                </c:pt>
                <c:pt idx="29">
                  <c:v>1.348868333307206</c:v>
                </c:pt>
                <c:pt idx="30">
                  <c:v>1.3721783975119359</c:v>
                </c:pt>
                <c:pt idx="31">
                  <c:v>1.3898712085640654</c:v>
                </c:pt>
                <c:pt idx="32">
                  <c:v>1.389489217760683</c:v>
                </c:pt>
                <c:pt idx="33">
                  <c:v>1.3829268711215283</c:v>
                </c:pt>
                <c:pt idx="34">
                  <c:v>1.3783889350043632</c:v>
                </c:pt>
                <c:pt idx="35">
                  <c:v>1.3894027426298579</c:v>
                </c:pt>
                <c:pt idx="36">
                  <c:v>1.4111307886633948</c:v>
                </c:pt>
                <c:pt idx="37">
                  <c:v>1.429104032615288</c:v>
                </c:pt>
                <c:pt idx="38">
                  <c:v>1.4439115146526762</c:v>
                </c:pt>
                <c:pt idx="39">
                  <c:v>1.4459742535497742</c:v>
                </c:pt>
                <c:pt idx="40">
                  <c:v>1.4423814409288451</c:v>
                </c:pt>
                <c:pt idx="41">
                  <c:v>1.4548815114048499</c:v>
                </c:pt>
                <c:pt idx="42">
                  <c:v>1.4754918972715598</c:v>
                </c:pt>
                <c:pt idx="43">
                  <c:v>1.4907594274369138</c:v>
                </c:pt>
                <c:pt idx="44">
                  <c:v>1.5189830238897744</c:v>
                </c:pt>
                <c:pt idx="45">
                  <c:v>1.5527546903056619</c:v>
                </c:pt>
                <c:pt idx="46">
                  <c:v>1.5732908580805587</c:v>
                </c:pt>
                <c:pt idx="47">
                  <c:v>1.5949665759806568</c:v>
                </c:pt>
                <c:pt idx="48">
                  <c:v>1.6042842711117751</c:v>
                </c:pt>
                <c:pt idx="49">
                  <c:v>1.6293409593439419</c:v>
                </c:pt>
                <c:pt idx="50">
                  <c:v>1.6392022400147888</c:v>
                </c:pt>
                <c:pt idx="51">
                  <c:v>1.6429416440323565</c:v>
                </c:pt>
                <c:pt idx="52">
                  <c:v>1.673422557361397</c:v>
                </c:pt>
                <c:pt idx="53">
                  <c:v>1.6972336219066617</c:v>
                </c:pt>
                <c:pt idx="54">
                  <c:v>1.7178751720809509</c:v>
                </c:pt>
              </c:numCache>
            </c:numRef>
          </c:yVal>
          <c:smooth val="0"/>
          <c:extLst>
            <c:ext xmlns:c16="http://schemas.microsoft.com/office/drawing/2014/chart" uri="{C3380CC4-5D6E-409C-BE32-E72D297353CC}">
              <c16:uniqueId val="{00000002-5913-42D2-8095-E5D67EB231CD}"/>
            </c:ext>
          </c:extLst>
        </c:ser>
        <c:ser>
          <c:idx val="3"/>
          <c:order val="3"/>
          <c:spPr>
            <a:ln w="19050" cmpd="sng" algn="ctr">
              <a:solidFill>
                <a:schemeClr val="accent4"/>
              </a:solidFill>
              <a:prstDash val="solid"/>
            </a:ln>
          </c:spPr>
          <c:marker>
            <c:symbol val="none"/>
          </c:marker>
          <c:xVal>
            <c:numRef>
              <c:f>Sheet1!$A$1:$BC$1</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xVal>
          <c:yVal>
            <c:numRef>
              <c:f>Sheet1!$A$5:$BC$5</c:f>
              <c:numCache>
                <c:formatCode>General</c:formatCode>
                <c:ptCount val="55"/>
                <c:pt idx="0">
                  <c:v>1</c:v>
                </c:pt>
                <c:pt idx="1">
                  <c:v>1.0390556365728747</c:v>
                </c:pt>
                <c:pt idx="2">
                  <c:v>1.0866594796204903</c:v>
                </c:pt>
                <c:pt idx="3">
                  <c:v>1.1466923727732135</c:v>
                </c:pt>
                <c:pt idx="4">
                  <c:v>1.1784282474490417</c:v>
                </c:pt>
                <c:pt idx="5">
                  <c:v>1.1840680594451241</c:v>
                </c:pt>
                <c:pt idx="6">
                  <c:v>1.2349642952651241</c:v>
                </c:pt>
                <c:pt idx="7">
                  <c:v>1.2729934116135204</c:v>
                </c:pt>
                <c:pt idx="8">
                  <c:v>1.3189238445349132</c:v>
                </c:pt>
                <c:pt idx="9">
                  <c:v>1.3636057779616841</c:v>
                </c:pt>
                <c:pt idx="10">
                  <c:v>1.3837481704392847</c:v>
                </c:pt>
                <c:pt idx="11">
                  <c:v>1.4003253971143925</c:v>
                </c:pt>
                <c:pt idx="12">
                  <c:v>1.4017221921430862</c:v>
                </c:pt>
                <c:pt idx="13">
                  <c:v>1.4127112750661708</c:v>
                </c:pt>
                <c:pt idx="14">
                  <c:v>1.4431361076446227</c:v>
                </c:pt>
                <c:pt idx="15">
                  <c:v>1.429311361342801</c:v>
                </c:pt>
                <c:pt idx="16">
                  <c:v>1.4635746077268212</c:v>
                </c:pt>
                <c:pt idx="17">
                  <c:v>1.5013459809120557</c:v>
                </c:pt>
                <c:pt idx="18">
                  <c:v>1.544936018174446</c:v>
                </c:pt>
                <c:pt idx="19">
                  <c:v>1.5818510331574125</c:v>
                </c:pt>
                <c:pt idx="20">
                  <c:v>1.6114842272183585</c:v>
                </c:pt>
                <c:pt idx="21">
                  <c:v>1.645729804437017</c:v>
                </c:pt>
                <c:pt idx="22">
                  <c:v>1.6906913754951616</c:v>
                </c:pt>
                <c:pt idx="23">
                  <c:v>1.7071771021878874</c:v>
                </c:pt>
                <c:pt idx="24">
                  <c:v>1.7499967514180397</c:v>
                </c:pt>
                <c:pt idx="25">
                  <c:v>1.7164741757864603</c:v>
                </c:pt>
                <c:pt idx="26">
                  <c:v>1.7693149044580736</c:v>
                </c:pt>
                <c:pt idx="27">
                  <c:v>1.8221400521021662</c:v>
                </c:pt>
                <c:pt idx="28">
                  <c:v>1.8334891654824055</c:v>
                </c:pt>
                <c:pt idx="29">
                  <c:v>1.8828360298551179</c:v>
                </c:pt>
                <c:pt idx="30">
                  <c:v>1.9839959130573186</c:v>
                </c:pt>
                <c:pt idx="31">
                  <c:v>1.9840596776086228</c:v>
                </c:pt>
                <c:pt idx="32">
                  <c:v>2.0054941066205734</c:v>
                </c:pt>
                <c:pt idx="33">
                  <c:v>2.0783029760329175</c:v>
                </c:pt>
                <c:pt idx="34">
                  <c:v>2.1328456313418798</c:v>
                </c:pt>
                <c:pt idx="35">
                  <c:v>2.3168595584434368</c:v>
                </c:pt>
                <c:pt idx="36">
                  <c:v>2.3584240011262136</c:v>
                </c:pt>
                <c:pt idx="37">
                  <c:v>2.4520240985276804</c:v>
                </c:pt>
                <c:pt idx="38">
                  <c:v>2.5300267542916455</c:v>
                </c:pt>
                <c:pt idx="39">
                  <c:v>2.482801588693234</c:v>
                </c:pt>
                <c:pt idx="40">
                  <c:v>2.6252541014899338</c:v>
                </c:pt>
                <c:pt idx="41">
                  <c:v>2.7182390109241896</c:v>
                </c:pt>
                <c:pt idx="42">
                  <c:v>2.7715707687049562</c:v>
                </c:pt>
                <c:pt idx="43">
                  <c:v>2.7719389047661487</c:v>
                </c:pt>
                <c:pt idx="44">
                  <c:v>2.7729991668984439</c:v>
                </c:pt>
                <c:pt idx="45">
                  <c:v>2.8082997287823348</c:v>
                </c:pt>
                <c:pt idx="46">
                  <c:v>2.8083733759482543</c:v>
                </c:pt>
                <c:pt idx="47">
                  <c:v>2.897698214601204</c:v>
                </c:pt>
                <c:pt idx="48">
                  <c:v>2.9361680202300362</c:v>
                </c:pt>
                <c:pt idx="49">
                  <c:v>2.9790735779176511</c:v>
                </c:pt>
                <c:pt idx="50">
                  <c:v>3.1102616106590513</c:v>
                </c:pt>
                <c:pt idx="51">
                  <c:v>3.163671908406084</c:v>
                </c:pt>
                <c:pt idx="52">
                  <c:v>3.2342981588066921</c:v>
                </c:pt>
                <c:pt idx="53">
                  <c:v>3.3048566500670984</c:v>
                </c:pt>
                <c:pt idx="54">
                  <c:v>3.3754151413275051</c:v>
                </c:pt>
              </c:numCache>
            </c:numRef>
          </c:yVal>
          <c:smooth val="0"/>
          <c:extLst>
            <c:ext xmlns:c16="http://schemas.microsoft.com/office/drawing/2014/chart" uri="{C3380CC4-5D6E-409C-BE32-E72D297353CC}">
              <c16:uniqueId val="{00000003-5913-42D2-8095-E5D67EB231CD}"/>
            </c:ext>
          </c:extLst>
        </c:ser>
        <c:dLbls>
          <c:showLegendKey val="0"/>
          <c:showVal val="0"/>
          <c:showCatName val="0"/>
          <c:showSerName val="0"/>
          <c:showPercent val="0"/>
          <c:showBubbleSize val="0"/>
        </c:dLbls>
        <c:axId val="4"/>
        <c:axId val="5"/>
      </c:scatterChart>
      <c:valAx>
        <c:axId val="4"/>
        <c:scaling>
          <c:orientation val="minMax"/>
          <c:max val="2025"/>
          <c:min val="197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3.4000000000000004"/>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4"/>
        <c:crosses val="min"/>
        <c:crossBetween val="midCat"/>
        <c:majorUnit val="0.2"/>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41358684041872"/>
          <c:y val="7.3158675234799797E-2"/>
          <c:w val="0.77932065797906436"/>
          <c:h val="0.85368264953040041"/>
        </c:manualLayout>
      </c:layout>
      <c:barChart>
        <c:barDir val="col"/>
        <c:grouping val="clustered"/>
        <c:varyColors val="0"/>
        <c:ser>
          <c:idx val="0"/>
          <c:order val="0"/>
          <c:spPr>
            <a:solidFill>
              <a:schemeClr val="tx2"/>
            </a:solidFill>
            <a:ln>
              <a:noFill/>
            </a:ln>
          </c:spPr>
          <c:invertIfNegative val="0"/>
          <c:val>
            <c:numRef>
              <c:f>Sheet1!$A$1:$E$1</c:f>
              <c:numCache>
                <c:formatCode>General</c:formatCode>
                <c:ptCount val="5"/>
                <c:pt idx="0">
                  <c:v>1300</c:v>
                </c:pt>
                <c:pt idx="1">
                  <c:v>7900</c:v>
                </c:pt>
                <c:pt idx="2">
                  <c:v>20500</c:v>
                </c:pt>
                <c:pt idx="3">
                  <c:v>28800</c:v>
                </c:pt>
                <c:pt idx="4">
                  <c:v>57900</c:v>
                </c:pt>
              </c:numCache>
            </c:numRef>
          </c:val>
          <c:extLst>
            <c:ext xmlns:c16="http://schemas.microsoft.com/office/drawing/2014/chart" uri="{C3380CC4-5D6E-409C-BE32-E72D297353CC}">
              <c16:uniqueId val="{00000000-D4C2-4939-B4A8-E0713640123F}"/>
            </c:ext>
          </c:extLst>
        </c:ser>
        <c:ser>
          <c:idx val="1"/>
          <c:order val="1"/>
          <c:spPr>
            <a:solidFill>
              <a:schemeClr val="accent1"/>
            </a:solidFill>
            <a:ln>
              <a:noFill/>
            </a:ln>
          </c:spPr>
          <c:invertIfNegative val="0"/>
          <c:val>
            <c:numRef>
              <c:f>Sheet1!$A$2:$E$2</c:f>
              <c:numCache>
                <c:formatCode>General</c:formatCode>
                <c:ptCount val="5"/>
                <c:pt idx="0">
                  <c:v>3000</c:v>
                </c:pt>
                <c:pt idx="1">
                  <c:v>16200</c:v>
                </c:pt>
                <c:pt idx="2">
                  <c:v>50000</c:v>
                </c:pt>
                <c:pt idx="3">
                  <c:v>29900</c:v>
                </c:pt>
                <c:pt idx="4">
                  <c:v>99200</c:v>
                </c:pt>
              </c:numCache>
            </c:numRef>
          </c:val>
          <c:extLst>
            <c:ext xmlns:c16="http://schemas.microsoft.com/office/drawing/2014/chart" uri="{C3380CC4-5D6E-409C-BE32-E72D297353CC}">
              <c16:uniqueId val="{00000001-D4C2-4939-B4A8-E0713640123F}"/>
            </c:ext>
          </c:extLst>
        </c:ser>
        <c:dLbls>
          <c:showLegendKey val="0"/>
          <c:showVal val="0"/>
          <c:showCatName val="0"/>
          <c:showSerName val="0"/>
          <c:showPercent val="0"/>
          <c:showBubbleSize val="0"/>
        </c:dLbls>
        <c:gapWidth val="80"/>
        <c:axId val="284000448"/>
        <c:axId val="1"/>
      </c:barChart>
      <c:barChart>
        <c:barDir val="col"/>
        <c:grouping val="clustered"/>
        <c:varyColors val="0"/>
        <c:ser>
          <c:idx val="2"/>
          <c:order val="2"/>
          <c:invertIfNegative val="0"/>
          <c:extLst>
            <c:ext xmlns:c16="http://schemas.microsoft.com/office/drawing/2014/chart" uri="{C3380CC4-5D6E-409C-BE32-E72D297353CC}">
              <c16:uniqueId val="{00000002-D4C2-4939-B4A8-E0713640123F}"/>
            </c:ext>
          </c:extLst>
        </c:ser>
        <c:dLbls>
          <c:showLegendKey val="0"/>
          <c:showVal val="0"/>
          <c:showCatName val="0"/>
          <c:showSerName val="0"/>
          <c:showPercent val="0"/>
          <c:showBubbleSize val="0"/>
        </c:dLbls>
        <c:gapWidth val="150"/>
        <c:axId val="2"/>
        <c:axId val="3"/>
      </c:barChart>
      <c:catAx>
        <c:axId val="2840004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600" kern="1200">
                <a:solidFill>
                  <a:schemeClr val="tx1"/>
                </a:solidFill>
                <a:latin typeface="+mn-lt"/>
                <a:ea typeface="+mn-ea"/>
                <a:cs typeface="+mn-cs"/>
              </a:defRPr>
            </a:pPr>
            <a:endParaRPr lang="en-US"/>
          </a:p>
        </c:txPr>
        <c:crossAx val="284000448"/>
        <c:crosses val="min"/>
        <c:crossBetween val="between"/>
        <c:majorUnit val="200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4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600" kern="1200">
                <a:solidFill>
                  <a:schemeClr val="tx1"/>
                </a:solidFill>
                <a:latin typeface="+mn-lt"/>
                <a:ea typeface="+mn-ea"/>
                <a:cs typeface="+mn-cs"/>
              </a:defRPr>
            </a:pPr>
            <a:endParaRPr lang="en-US"/>
          </a:p>
        </c:txPr>
        <c:crossAx val="2"/>
        <c:crosses val="max"/>
        <c:crossBetween val="between"/>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603015075376885E-2"/>
          <c:y val="6.2671797691039033E-2"/>
          <c:w val="0.90894472361809042"/>
          <c:h val="0.87410665200659698"/>
        </c:manualLayout>
      </c:layout>
      <c:barChart>
        <c:barDir val="col"/>
        <c:grouping val="stacked"/>
        <c:varyColors val="0"/>
        <c:ser>
          <c:idx val="0"/>
          <c:order val="0"/>
          <c:spPr>
            <a:solidFill>
              <a:srgbClr val="71B561"/>
            </a:solidFill>
            <a:ln w="3175" cmpd="sng" algn="ctr">
              <a:solidFill>
                <a:srgbClr val="FFFFFF"/>
              </a:solidFill>
              <a:prstDash val="solid"/>
            </a:ln>
          </c:spPr>
          <c:invertIfNegative val="0"/>
          <c:val>
            <c:numRef>
              <c:f>Sheet1!$A$1:$H$1</c:f>
              <c:numCache>
                <c:formatCode>General</c:formatCode>
                <c:ptCount val="8"/>
                <c:pt idx="0">
                  <c:v>17.7</c:v>
                </c:pt>
                <c:pt idx="1">
                  <c:v>27.700000000000003</c:v>
                </c:pt>
                <c:pt idx="2">
                  <c:v>8.6</c:v>
                </c:pt>
                <c:pt idx="3">
                  <c:v>91</c:v>
                </c:pt>
                <c:pt idx="4">
                  <c:v>97</c:v>
                </c:pt>
                <c:pt idx="5">
                  <c:v>99.5</c:v>
                </c:pt>
                <c:pt idx="6">
                  <c:v>12</c:v>
                </c:pt>
                <c:pt idx="7">
                  <c:v>46.2</c:v>
                </c:pt>
              </c:numCache>
            </c:numRef>
          </c:val>
          <c:extLst>
            <c:ext xmlns:c16="http://schemas.microsoft.com/office/drawing/2014/chart" uri="{C3380CC4-5D6E-409C-BE32-E72D297353CC}">
              <c16:uniqueId val="{00000000-003F-48EE-8B41-88D4C40358A9}"/>
            </c:ext>
          </c:extLst>
        </c:ser>
        <c:ser>
          <c:idx val="1"/>
          <c:order val="1"/>
          <c:spPr>
            <a:solidFill>
              <a:srgbClr val="000000"/>
            </a:solidFill>
            <a:ln w="3175" cmpd="sng" algn="ctr">
              <a:solidFill>
                <a:srgbClr val="FFFFFF"/>
              </a:solidFill>
              <a:prstDash val="solid"/>
            </a:ln>
          </c:spPr>
          <c:invertIfNegative val="0"/>
          <c:dPt>
            <c:idx val="4"/>
            <c:invertIfNegative val="0"/>
            <c:bubble3D val="0"/>
            <c:spPr>
              <a:solidFill>
                <a:srgbClr val="7907B1"/>
              </a:solidFill>
              <a:ln w="3175" cmpd="sng" algn="ctr">
                <a:solidFill>
                  <a:srgbClr val="FFFFFF"/>
                </a:solidFill>
                <a:prstDash val="solid"/>
              </a:ln>
            </c:spPr>
            <c:extLst>
              <c:ext xmlns:c16="http://schemas.microsoft.com/office/drawing/2014/chart" uri="{C3380CC4-5D6E-409C-BE32-E72D297353CC}">
                <c16:uniqueId val="{00000001-003F-48EE-8B41-88D4C40358A9}"/>
              </c:ext>
            </c:extLst>
          </c:dPt>
          <c:val>
            <c:numRef>
              <c:f>Sheet1!$A$2:$H$2</c:f>
              <c:numCache>
                <c:formatCode>General</c:formatCode>
                <c:ptCount val="8"/>
                <c:pt idx="0">
                  <c:v>8.7000000000000028</c:v>
                </c:pt>
                <c:pt idx="1">
                  <c:v>7.7000000000000011</c:v>
                </c:pt>
                <c:pt idx="2">
                  <c:v>13.200000000000001</c:v>
                </c:pt>
                <c:pt idx="3">
                  <c:v>1.8000000000000016</c:v>
                </c:pt>
                <c:pt idx="4">
                  <c:v>0.20000000000000018</c:v>
                </c:pt>
                <c:pt idx="5">
                  <c:v>0.50000000000000044</c:v>
                </c:pt>
                <c:pt idx="6">
                  <c:v>3</c:v>
                </c:pt>
                <c:pt idx="7">
                  <c:v>4.6999999999999984</c:v>
                </c:pt>
              </c:numCache>
            </c:numRef>
          </c:val>
          <c:extLst>
            <c:ext xmlns:c16="http://schemas.microsoft.com/office/drawing/2014/chart" uri="{C3380CC4-5D6E-409C-BE32-E72D297353CC}">
              <c16:uniqueId val="{00000002-003F-48EE-8B41-88D4C40358A9}"/>
            </c:ext>
          </c:extLst>
        </c:ser>
        <c:ser>
          <c:idx val="2"/>
          <c:order val="2"/>
          <c:spPr>
            <a:solidFill>
              <a:srgbClr val="3065E6"/>
            </a:solidFill>
            <a:ln w="3175" cmpd="sng" algn="ctr">
              <a:solidFill>
                <a:srgbClr val="FFFFFF"/>
              </a:solidFill>
              <a:prstDash val="solid"/>
            </a:ln>
          </c:spPr>
          <c:invertIfNegative val="0"/>
          <c:dPt>
            <c:idx val="4"/>
            <c:invertIfNegative val="0"/>
            <c:bubble3D val="0"/>
            <c:spPr>
              <a:solidFill>
                <a:srgbClr val="EC9733"/>
              </a:solidFill>
              <a:ln w="3175" cmpd="sng" algn="ctr">
                <a:solidFill>
                  <a:srgbClr val="FFFFFF"/>
                </a:solidFill>
                <a:prstDash val="solid"/>
              </a:ln>
            </c:spPr>
            <c:extLst>
              <c:ext xmlns:c16="http://schemas.microsoft.com/office/drawing/2014/chart" uri="{C3380CC4-5D6E-409C-BE32-E72D297353CC}">
                <c16:uniqueId val="{00000003-003F-48EE-8B41-88D4C40358A9}"/>
              </c:ext>
            </c:extLst>
          </c:dPt>
          <c:dPt>
            <c:idx val="5"/>
            <c:invertIfNegative val="0"/>
            <c:bubble3D val="0"/>
            <c:spPr>
              <a:solidFill>
                <a:srgbClr val="7907B1"/>
              </a:solidFill>
              <a:ln w="3175" cmpd="sng" algn="ctr">
                <a:solidFill>
                  <a:srgbClr val="FFFFFF"/>
                </a:solidFill>
                <a:prstDash val="solid"/>
              </a:ln>
            </c:spPr>
            <c:extLst>
              <c:ext xmlns:c16="http://schemas.microsoft.com/office/drawing/2014/chart" uri="{C3380CC4-5D6E-409C-BE32-E72D297353CC}">
                <c16:uniqueId val="{00000004-003F-48EE-8B41-88D4C40358A9}"/>
              </c:ext>
            </c:extLst>
          </c:dPt>
          <c:val>
            <c:numRef>
              <c:f>Sheet1!$A$3:$H$3</c:f>
              <c:numCache>
                <c:formatCode>General</c:formatCode>
                <c:ptCount val="8"/>
                <c:pt idx="0">
                  <c:v>10.499999999999998</c:v>
                </c:pt>
                <c:pt idx="1">
                  <c:v>9.6999999999999975</c:v>
                </c:pt>
                <c:pt idx="2">
                  <c:v>10.200000000000001</c:v>
                </c:pt>
                <c:pt idx="3">
                  <c:v>0.50000000000000044</c:v>
                </c:pt>
                <c:pt idx="4">
                  <c:v>1.2000000000000011</c:v>
                </c:pt>
                <c:pt idx="5">
                  <c:v>0</c:v>
                </c:pt>
                <c:pt idx="6">
                  <c:v>2.0999999999999992</c:v>
                </c:pt>
                <c:pt idx="7">
                  <c:v>2.1000000000000019</c:v>
                </c:pt>
              </c:numCache>
            </c:numRef>
          </c:val>
          <c:extLst>
            <c:ext xmlns:c16="http://schemas.microsoft.com/office/drawing/2014/chart" uri="{C3380CC4-5D6E-409C-BE32-E72D297353CC}">
              <c16:uniqueId val="{00000005-003F-48EE-8B41-88D4C40358A9}"/>
            </c:ext>
          </c:extLst>
        </c:ser>
        <c:ser>
          <c:idx val="3"/>
          <c:order val="3"/>
          <c:spPr>
            <a:solidFill>
              <a:srgbClr val="7907B1"/>
            </a:solidFill>
            <a:ln w="3175" cmpd="sng" algn="ctr">
              <a:solidFill>
                <a:srgbClr val="FFFFFF"/>
              </a:solidFill>
              <a:prstDash val="solid"/>
            </a:ln>
          </c:spPr>
          <c:invertIfNegative val="0"/>
          <c:dPt>
            <c:idx val="4"/>
            <c:invertIfNegative val="0"/>
            <c:bubble3D val="0"/>
            <c:spPr>
              <a:solidFill>
                <a:srgbClr val="FCD927"/>
              </a:solidFill>
              <a:ln w="3175" cmpd="sng" algn="ctr">
                <a:solidFill>
                  <a:srgbClr val="FFFFFF"/>
                </a:solidFill>
                <a:prstDash val="solid"/>
              </a:ln>
            </c:spPr>
            <c:extLst>
              <c:ext xmlns:c16="http://schemas.microsoft.com/office/drawing/2014/chart" uri="{C3380CC4-5D6E-409C-BE32-E72D297353CC}">
                <c16:uniqueId val="{00000006-003F-48EE-8B41-88D4C40358A9}"/>
              </c:ext>
            </c:extLst>
          </c:dPt>
          <c:val>
            <c:numRef>
              <c:f>Sheet1!$A$4:$H$4</c:f>
              <c:numCache>
                <c:formatCode>General</c:formatCode>
                <c:ptCount val="8"/>
                <c:pt idx="0">
                  <c:v>18.900000000000006</c:v>
                </c:pt>
                <c:pt idx="1">
                  <c:v>18.600000000000001</c:v>
                </c:pt>
                <c:pt idx="2">
                  <c:v>7.9000000000000012</c:v>
                </c:pt>
                <c:pt idx="3">
                  <c:v>2.0000000000000018</c:v>
                </c:pt>
                <c:pt idx="4">
                  <c:v>1.5999999999999903</c:v>
                </c:pt>
                <c:pt idx="6">
                  <c:v>8.2000000000000011</c:v>
                </c:pt>
                <c:pt idx="7">
                  <c:v>4.1000000000000032</c:v>
                </c:pt>
              </c:numCache>
            </c:numRef>
          </c:val>
          <c:extLst>
            <c:ext xmlns:c16="http://schemas.microsoft.com/office/drawing/2014/chart" uri="{C3380CC4-5D6E-409C-BE32-E72D297353CC}">
              <c16:uniqueId val="{00000007-003F-48EE-8B41-88D4C40358A9}"/>
            </c:ext>
          </c:extLst>
        </c:ser>
        <c:ser>
          <c:idx val="4"/>
          <c:order val="4"/>
          <c:spPr>
            <a:solidFill>
              <a:srgbClr val="EC9733"/>
            </a:solidFill>
            <a:ln w="3175" cmpd="sng" algn="ctr">
              <a:solidFill>
                <a:srgbClr val="FFFFFF"/>
              </a:solidFill>
              <a:prstDash val="solid"/>
            </a:ln>
          </c:spPr>
          <c:invertIfNegative val="0"/>
          <c:val>
            <c:numRef>
              <c:f>Sheet1!$A$5:$H$5</c:f>
              <c:numCache>
                <c:formatCode>General</c:formatCode>
                <c:ptCount val="8"/>
                <c:pt idx="0">
                  <c:v>33.000000000000007</c:v>
                </c:pt>
                <c:pt idx="1">
                  <c:v>25.6</c:v>
                </c:pt>
                <c:pt idx="2">
                  <c:v>17.399999999999991</c:v>
                </c:pt>
                <c:pt idx="3">
                  <c:v>1.4000000000000012</c:v>
                </c:pt>
                <c:pt idx="6">
                  <c:v>74.3</c:v>
                </c:pt>
                <c:pt idx="7">
                  <c:v>42.499999999999993</c:v>
                </c:pt>
              </c:numCache>
            </c:numRef>
          </c:val>
          <c:extLst>
            <c:ext xmlns:c16="http://schemas.microsoft.com/office/drawing/2014/chart" uri="{C3380CC4-5D6E-409C-BE32-E72D297353CC}">
              <c16:uniqueId val="{00000008-003F-48EE-8B41-88D4C40358A9}"/>
            </c:ext>
          </c:extLst>
        </c:ser>
        <c:ser>
          <c:idx val="5"/>
          <c:order val="5"/>
          <c:spPr>
            <a:solidFill>
              <a:srgbClr val="FCD927"/>
            </a:solidFill>
            <a:ln w="3175" cmpd="sng" algn="ctr">
              <a:solidFill>
                <a:srgbClr val="FFFFFF"/>
              </a:solidFill>
              <a:prstDash val="solid"/>
            </a:ln>
          </c:spPr>
          <c:invertIfNegative val="0"/>
          <c:val>
            <c:numRef>
              <c:f>Sheet1!$A$6:$H$6</c:f>
              <c:numCache>
                <c:formatCode>General</c:formatCode>
                <c:ptCount val="8"/>
                <c:pt idx="0">
                  <c:v>11.20000000000001</c:v>
                </c:pt>
                <c:pt idx="1">
                  <c:v>10.7</c:v>
                </c:pt>
                <c:pt idx="2">
                  <c:v>42.7</c:v>
                </c:pt>
                <c:pt idx="3">
                  <c:v>3.2999999999999918</c:v>
                </c:pt>
                <c:pt idx="6">
                  <c:v>0.40000000000000036</c:v>
                </c:pt>
                <c:pt idx="7">
                  <c:v>0.39999999999998925</c:v>
                </c:pt>
              </c:numCache>
            </c:numRef>
          </c:val>
          <c:extLst>
            <c:ext xmlns:c16="http://schemas.microsoft.com/office/drawing/2014/chart" uri="{C3380CC4-5D6E-409C-BE32-E72D297353CC}">
              <c16:uniqueId val="{00000009-003F-48EE-8B41-88D4C40358A9}"/>
            </c:ext>
          </c:extLst>
        </c:ser>
        <c:dLbls>
          <c:showLegendKey val="0"/>
          <c:showVal val="0"/>
          <c:showCatName val="0"/>
          <c:showSerName val="0"/>
          <c:showPercent val="0"/>
          <c:showBubbleSize val="0"/>
        </c:dLbls>
        <c:gapWidth val="80"/>
        <c:overlap val="100"/>
        <c:axId val="12973823"/>
        <c:axId val="1"/>
      </c:barChart>
      <c:catAx>
        <c:axId val="129738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2973823"/>
        <c:crosses val="min"/>
        <c:crossBetween val="between"/>
        <c:majorUnit val="2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9312351799956E-2"/>
          <c:y val="8.3405358686257564E-2"/>
          <c:w val="0.9775813752964001"/>
          <c:h val="0.83318928262748493"/>
        </c:manualLayout>
      </c:layout>
      <c:barChart>
        <c:barDir val="col"/>
        <c:grouping val="stacked"/>
        <c:varyColors val="0"/>
        <c:ser>
          <c:idx val="0"/>
          <c:order val="0"/>
          <c:spPr>
            <a:solidFill>
              <a:srgbClr val="0070C0"/>
            </a:solidFill>
            <a:ln>
              <a:noFill/>
            </a:ln>
          </c:spPr>
          <c:invertIfNegative val="0"/>
          <c:dLbls>
            <c:dLbl>
              <c:idx val="0"/>
              <c:layout>
                <c:manualLayout>
                  <c:x val="-3.3843500754472948E-2"/>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47-49FE-AF0F-FE2C2B0945AD}"/>
                </c:ext>
              </c:extLst>
            </c:dLbl>
            <c:dLbl>
              <c:idx val="1"/>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47-49FE-AF0F-FE2C2B0945AD}"/>
                </c:ext>
              </c:extLst>
            </c:dLbl>
            <c:dLbl>
              <c:idx val="2"/>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47-49FE-AF0F-FE2C2B0945AD}"/>
                </c:ext>
              </c:extLst>
            </c:dLbl>
            <c:dLbl>
              <c:idx val="3"/>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47-49FE-AF0F-FE2C2B094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c:v>
                </c:pt>
                <c:pt idx="1">
                  <c:v>64</c:v>
                </c:pt>
                <c:pt idx="2">
                  <c:v>76</c:v>
                </c:pt>
                <c:pt idx="3">
                  <c:v>9</c:v>
                </c:pt>
              </c:numCache>
            </c:numRef>
          </c:val>
          <c:extLst>
            <c:ext xmlns:c16="http://schemas.microsoft.com/office/drawing/2014/chart" uri="{C3380CC4-5D6E-409C-BE32-E72D297353CC}">
              <c16:uniqueId val="{00000004-B647-49FE-AF0F-FE2C2B0945AD}"/>
            </c:ext>
          </c:extLst>
        </c:ser>
        <c:ser>
          <c:idx val="1"/>
          <c:order val="1"/>
          <c:spPr>
            <a:solidFill>
              <a:srgbClr val="42423F"/>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5-B647-49FE-AF0F-FE2C2B0945AD}"/>
              </c:ext>
            </c:extLst>
          </c:dPt>
          <c:dLbls>
            <c:dLbl>
              <c:idx val="1"/>
              <c:layout>
                <c:manualLayout>
                  <c:x val="0"/>
                  <c:y val="-1.728608470181503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647-49FE-AF0F-FE2C2B0945AD}"/>
                </c:ext>
              </c:extLst>
            </c:dLbl>
            <c:dLbl>
              <c:idx val="2"/>
              <c:layout>
                <c:manualLayout>
                  <c:x val="0"/>
                  <c:y val="-1.728608470181503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47-49FE-AF0F-FE2C2B0945AD}"/>
                </c:ext>
              </c:extLst>
            </c:dLbl>
            <c:dLbl>
              <c:idx val="3"/>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47-49FE-AF0F-FE2C2B094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c:v>
                </c:pt>
                <c:pt idx="1">
                  <c:v>13</c:v>
                </c:pt>
                <c:pt idx="2">
                  <c:v>8</c:v>
                </c:pt>
                <c:pt idx="3">
                  <c:v>21</c:v>
                </c:pt>
              </c:numCache>
            </c:numRef>
          </c:val>
          <c:extLst>
            <c:ext xmlns:c16="http://schemas.microsoft.com/office/drawing/2014/chart" uri="{C3380CC4-5D6E-409C-BE32-E72D297353CC}">
              <c16:uniqueId val="{00000009-B647-49FE-AF0F-FE2C2B0945AD}"/>
            </c:ext>
          </c:extLst>
        </c:ser>
        <c:ser>
          <c:idx val="2"/>
          <c:order val="2"/>
          <c:spPr>
            <a:solidFill>
              <a:srgbClr val="7030A0"/>
            </a:solidFill>
            <a:ln>
              <a:noFill/>
            </a:ln>
          </c:spPr>
          <c:invertIfNegative val="0"/>
          <c:dLbls>
            <c:dLbl>
              <c:idx val="0"/>
              <c:layout>
                <c:manualLayout>
                  <c:x val="-3.3843500754472948E-2"/>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647-49FE-AF0F-FE2C2B0945AD}"/>
                </c:ext>
              </c:extLst>
            </c:dLbl>
            <c:dLbl>
              <c:idx val="1"/>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647-49FE-AF0F-FE2C2B0945AD}"/>
                </c:ext>
              </c:extLst>
            </c:dLbl>
            <c:dLbl>
              <c:idx val="2"/>
              <c:layout>
                <c:manualLayout>
                  <c:x val="0"/>
                  <c:y val="-1.728608470181503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647-49FE-AF0F-FE2C2B0945AD}"/>
                </c:ext>
              </c:extLst>
            </c:dLbl>
            <c:dLbl>
              <c:idx val="3"/>
              <c:layout>
                <c:manualLayout>
                  <c:x val="0"/>
                  <c:y val="-1.296456352636127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647-49FE-AF0F-FE2C2B094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6</c:v>
                </c:pt>
                <c:pt idx="1">
                  <c:v>19</c:v>
                </c:pt>
                <c:pt idx="2">
                  <c:v>9</c:v>
                </c:pt>
                <c:pt idx="3">
                  <c:v>65</c:v>
                </c:pt>
              </c:numCache>
            </c:numRef>
          </c:val>
          <c:extLst>
            <c:ext xmlns:c16="http://schemas.microsoft.com/office/drawing/2014/chart" uri="{C3380CC4-5D6E-409C-BE32-E72D297353CC}">
              <c16:uniqueId val="{0000000E-B647-49FE-AF0F-FE2C2B0945AD}"/>
            </c:ext>
          </c:extLst>
        </c:ser>
        <c:ser>
          <c:idx val="3"/>
          <c:order val="3"/>
          <c:spPr>
            <a:solidFill>
              <a:srgbClr val="71B561"/>
            </a:solidFill>
            <a:ln>
              <a:noFill/>
            </a:ln>
          </c:spPr>
          <c:invertIfNegative val="0"/>
          <c:dLbls>
            <c:dLbl>
              <c:idx val="0"/>
              <c:layout>
                <c:manualLayout>
                  <c:x val="0"/>
                  <c:y val="-1.296456352636127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647-49FE-AF0F-FE2C2B0945AD}"/>
                </c:ext>
              </c:extLst>
            </c:dLbl>
            <c:dLbl>
              <c:idx val="2"/>
              <c:layout>
                <c:manualLayout>
                  <c:x val="0"/>
                  <c:y val="-1.296456352636127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647-49FE-AF0F-FE2C2B0945AD}"/>
                </c:ext>
              </c:extLst>
            </c:dLbl>
            <c:dLbl>
              <c:idx val="3"/>
              <c:layout>
                <c:manualLayout>
                  <c:x val="0"/>
                  <c:y val="-1.296456352636127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647-49FE-AF0F-FE2C2B0945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84</c:v>
                </c:pt>
                <c:pt idx="1">
                  <c:v>4</c:v>
                </c:pt>
                <c:pt idx="2">
                  <c:v>7</c:v>
                </c:pt>
                <c:pt idx="3">
                  <c:v>5</c:v>
                </c:pt>
              </c:numCache>
            </c:numRef>
          </c:val>
          <c:extLst>
            <c:ext xmlns:c16="http://schemas.microsoft.com/office/drawing/2014/chart" uri="{C3380CC4-5D6E-409C-BE32-E72D297353CC}">
              <c16:uniqueId val="{00000012-B647-49FE-AF0F-FE2C2B0945AD}"/>
            </c:ext>
          </c:extLst>
        </c:ser>
        <c:dLbls>
          <c:showLegendKey val="0"/>
          <c:showVal val="0"/>
          <c:showCatName val="0"/>
          <c:showSerName val="0"/>
          <c:showPercent val="0"/>
          <c:showBubbleSize val="0"/>
        </c:dLbls>
        <c:gapWidth val="80"/>
        <c:overlap val="100"/>
        <c:axId val="202477120"/>
        <c:axId val="1"/>
      </c:barChart>
      <c:catAx>
        <c:axId val="202477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247712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BD6CAA1-54DB-A020-154B-518581C7734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445F2EC-8741-F0C1-F625-618D6DFA1C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A15DA95-40CC-43D2-97A6-31EBE443E36F}" type="datetimeFigureOut">
              <a:rPr lang="en-GB" smtClean="0"/>
              <a:t>23/04/2024</a:t>
            </a:fld>
            <a:endParaRPr lang="en-GB"/>
          </a:p>
        </p:txBody>
      </p:sp>
      <p:sp>
        <p:nvSpPr>
          <p:cNvPr id="4" name="Footer Placeholder 3">
            <a:extLst>
              <a:ext uri="{FF2B5EF4-FFF2-40B4-BE49-F238E27FC236}">
                <a16:creationId xmlns:a16="http://schemas.microsoft.com/office/drawing/2014/main" id="{5BB2ADF7-CFFD-EC7E-5FCC-C120669FC49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E1614EDC-32E9-2FA7-4C9D-017EE866276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8FD2E8C-D18C-48C1-9E0F-194A869C1EAF}" type="slidenum">
              <a:rPr lang="en-GB" smtClean="0"/>
              <a:t>‹#›</a:t>
            </a:fld>
            <a:endParaRPr lang="en-GB"/>
          </a:p>
        </p:txBody>
      </p:sp>
    </p:spTree>
    <p:extLst>
      <p:ext uri="{BB962C8B-B14F-4D97-AF65-F5344CB8AC3E}">
        <p14:creationId xmlns:p14="http://schemas.microsoft.com/office/powerpoint/2010/main" val="3301684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570385-50D0-4D57-BD49-1D2910AF7A9F}" type="datetimeFigureOut">
              <a:rPr lang="en-GB" smtClean="0"/>
              <a:t>23/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52752A-A6BF-4D42-A87A-CD18ACBA4082}" type="slidenum">
              <a:rPr lang="en-GB" smtClean="0"/>
              <a:t>‹#›</a:t>
            </a:fld>
            <a:endParaRPr lang="en-GB"/>
          </a:p>
        </p:txBody>
      </p:sp>
    </p:spTree>
    <p:extLst>
      <p:ext uri="{BB962C8B-B14F-4D97-AF65-F5344CB8AC3E}">
        <p14:creationId xmlns:p14="http://schemas.microsoft.com/office/powerpoint/2010/main" val="3127762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1</a:t>
            </a:fld>
            <a:endParaRPr lang="en-GB"/>
          </a:p>
        </p:txBody>
      </p:sp>
    </p:spTree>
    <p:extLst>
      <p:ext uri="{BB962C8B-B14F-4D97-AF65-F5344CB8AC3E}">
        <p14:creationId xmlns:p14="http://schemas.microsoft.com/office/powerpoint/2010/main" val="3833372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10</a:t>
            </a:fld>
            <a:endParaRPr lang="en-GB"/>
          </a:p>
        </p:txBody>
      </p:sp>
    </p:spTree>
    <p:extLst>
      <p:ext uri="{BB962C8B-B14F-4D97-AF65-F5344CB8AC3E}">
        <p14:creationId xmlns:p14="http://schemas.microsoft.com/office/powerpoint/2010/main" val="1964017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11</a:t>
            </a:fld>
            <a:endParaRPr lang="en-GB"/>
          </a:p>
        </p:txBody>
      </p:sp>
    </p:spTree>
    <p:extLst>
      <p:ext uri="{BB962C8B-B14F-4D97-AF65-F5344CB8AC3E}">
        <p14:creationId xmlns:p14="http://schemas.microsoft.com/office/powerpoint/2010/main" val="3846742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12</a:t>
            </a:fld>
            <a:endParaRPr lang="en-GB"/>
          </a:p>
        </p:txBody>
      </p:sp>
    </p:spTree>
    <p:extLst>
      <p:ext uri="{BB962C8B-B14F-4D97-AF65-F5344CB8AC3E}">
        <p14:creationId xmlns:p14="http://schemas.microsoft.com/office/powerpoint/2010/main" val="4090893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13</a:t>
            </a:fld>
            <a:endParaRPr lang="en-GB"/>
          </a:p>
        </p:txBody>
      </p:sp>
    </p:spTree>
    <p:extLst>
      <p:ext uri="{BB962C8B-B14F-4D97-AF65-F5344CB8AC3E}">
        <p14:creationId xmlns:p14="http://schemas.microsoft.com/office/powerpoint/2010/main" val="149759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72AAF5-263A-4CDA-A6F2-1616759677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6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52752A-A6BF-4D42-A87A-CD18ACBA408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715907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3</a:t>
            </a:fld>
            <a:endParaRPr lang="en-GB"/>
          </a:p>
        </p:txBody>
      </p:sp>
    </p:spTree>
    <p:extLst>
      <p:ext uri="{BB962C8B-B14F-4D97-AF65-F5344CB8AC3E}">
        <p14:creationId xmlns:p14="http://schemas.microsoft.com/office/powerpoint/2010/main" val="2929006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4</a:t>
            </a:fld>
            <a:endParaRPr lang="en-GB"/>
          </a:p>
        </p:txBody>
      </p:sp>
    </p:spTree>
    <p:extLst>
      <p:ext uri="{BB962C8B-B14F-4D97-AF65-F5344CB8AC3E}">
        <p14:creationId xmlns:p14="http://schemas.microsoft.com/office/powerpoint/2010/main" val="3630533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5</a:t>
            </a:fld>
            <a:endParaRPr lang="en-GB"/>
          </a:p>
        </p:txBody>
      </p:sp>
    </p:spTree>
    <p:extLst>
      <p:ext uri="{BB962C8B-B14F-4D97-AF65-F5344CB8AC3E}">
        <p14:creationId xmlns:p14="http://schemas.microsoft.com/office/powerpoint/2010/main" val="2787493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6</a:t>
            </a:fld>
            <a:endParaRPr lang="en-GB"/>
          </a:p>
        </p:txBody>
      </p:sp>
    </p:spTree>
    <p:extLst>
      <p:ext uri="{BB962C8B-B14F-4D97-AF65-F5344CB8AC3E}">
        <p14:creationId xmlns:p14="http://schemas.microsoft.com/office/powerpoint/2010/main" val="746013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7</a:t>
            </a:fld>
            <a:endParaRPr lang="en-GB"/>
          </a:p>
        </p:txBody>
      </p:sp>
    </p:spTree>
    <p:extLst>
      <p:ext uri="{BB962C8B-B14F-4D97-AF65-F5344CB8AC3E}">
        <p14:creationId xmlns:p14="http://schemas.microsoft.com/office/powerpoint/2010/main" val="357462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8</a:t>
            </a:fld>
            <a:endParaRPr lang="en-GB"/>
          </a:p>
        </p:txBody>
      </p:sp>
    </p:spTree>
    <p:extLst>
      <p:ext uri="{BB962C8B-B14F-4D97-AF65-F5344CB8AC3E}">
        <p14:creationId xmlns:p14="http://schemas.microsoft.com/office/powerpoint/2010/main" val="2087870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152752A-A6BF-4D42-A87A-CD18ACBA4082}" type="slidenum">
              <a:rPr lang="en-GB" smtClean="0"/>
              <a:t>9</a:t>
            </a:fld>
            <a:endParaRPr lang="en-GB"/>
          </a:p>
        </p:txBody>
      </p:sp>
    </p:spTree>
    <p:extLst>
      <p:ext uri="{BB962C8B-B14F-4D97-AF65-F5344CB8AC3E}">
        <p14:creationId xmlns:p14="http://schemas.microsoft.com/office/powerpoint/2010/main" val="21939755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2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6.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6.emf"/><Relationship Id="rId4" Type="http://schemas.openxmlformats.org/officeDocument/2006/relationships/oleObject" Target="../embeddings/oleObject3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6.emf"/><Relationship Id="rId4" Type="http://schemas.openxmlformats.org/officeDocument/2006/relationships/oleObject" Target="../embeddings/oleObject4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4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3886319" y="1208854"/>
            <a:ext cx="7480182" cy="2387600"/>
          </a:xfrm>
        </p:spPr>
        <p:txBody>
          <a:bodyPr anchor="b">
            <a:noAutofit/>
          </a:bodyPr>
          <a:lstStyle>
            <a:lvl1pPr algn="l">
              <a:defRPr sz="60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3886319" y="3972973"/>
            <a:ext cx="7480182" cy="676656"/>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13" name="Picture 12" descr="A close up of a logo&#10;&#10;Description automatically generated">
            <a:extLst>
              <a:ext uri="{FF2B5EF4-FFF2-40B4-BE49-F238E27FC236}">
                <a16:creationId xmlns:a16="http://schemas.microsoft.com/office/drawing/2014/main" id="{7D8058B5-CE69-62B3-E9D5-1C75B5A68DC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654" r="7536" b="21822"/>
          <a:stretch/>
        </p:blipFill>
        <p:spPr>
          <a:xfrm>
            <a:off x="10695878" y="6305447"/>
            <a:ext cx="1384998" cy="409678"/>
          </a:xfrm>
          <a:prstGeom prst="rect">
            <a:avLst/>
          </a:prstGeom>
        </p:spPr>
      </p:pic>
    </p:spTree>
    <p:extLst>
      <p:ext uri="{BB962C8B-B14F-4D97-AF65-F5344CB8AC3E}">
        <p14:creationId xmlns:p14="http://schemas.microsoft.com/office/powerpoint/2010/main" val="3344690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14788831-AC84-CDA4-A2C0-FF94D9DED83D}"/>
              </a:ext>
            </a:extLst>
          </p:cNvPr>
          <p:cNvSpPr>
            <a:spLocks noGrp="1"/>
          </p:cNvSpPr>
          <p:nvPr>
            <p:ph idx="1"/>
          </p:nvPr>
        </p:nvSpPr>
        <p:spPr>
          <a:xfrm>
            <a:off x="179386" y="1320800"/>
            <a:ext cx="11833228" cy="43799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dirty="0"/>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2303781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a:xfrm>
            <a:off x="179386" y="179388"/>
            <a:ext cx="11833228" cy="64008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14788831-AC84-CDA4-A2C0-FF94D9DED83D}"/>
              </a:ext>
            </a:extLst>
          </p:cNvPr>
          <p:cNvSpPr>
            <a:spLocks noGrp="1"/>
          </p:cNvSpPr>
          <p:nvPr>
            <p:ph idx="1"/>
          </p:nvPr>
        </p:nvSpPr>
        <p:spPr>
          <a:xfrm>
            <a:off x="179386" y="1320800"/>
            <a:ext cx="11833228" cy="43799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dirty="0"/>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8" name="Text Placeholder 7">
            <a:extLst>
              <a:ext uri="{FF2B5EF4-FFF2-40B4-BE49-F238E27FC236}">
                <a16:creationId xmlns:a16="http://schemas.microsoft.com/office/drawing/2014/main" id="{9E8BCAC4-3C43-F2C0-B838-17CF75BCC469}"/>
              </a:ext>
            </a:extLst>
          </p:cNvPr>
          <p:cNvSpPr>
            <a:spLocks noGrp="1"/>
          </p:cNvSpPr>
          <p:nvPr>
            <p:ph type="body" sz="quarter" idx="13" hasCustomPrompt="1"/>
          </p:nvPr>
        </p:nvSpPr>
        <p:spPr>
          <a:xfrm>
            <a:off x="179386" y="880946"/>
            <a:ext cx="11832336" cy="301752"/>
          </a:xfrm>
        </p:spPr>
        <p:txBody>
          <a:bodyPr>
            <a:normAutofit/>
          </a:bodyPr>
          <a:lstStyle>
            <a:lvl1pPr marL="0" indent="0">
              <a:buNone/>
              <a:defRPr sz="1600">
                <a:solidFill>
                  <a:schemeClr val="tx2"/>
                </a:solidFill>
              </a:defRPr>
            </a:lvl1pPr>
          </a:lstStyle>
          <a:p>
            <a:pPr lvl="0"/>
            <a:r>
              <a:rPr lang="en-US" dirty="0"/>
              <a:t>Add subtitle here</a:t>
            </a:r>
          </a:p>
        </p:txBody>
      </p:sp>
    </p:spTree>
    <p:extLst>
      <p:ext uri="{BB962C8B-B14F-4D97-AF65-F5344CB8AC3E}">
        <p14:creationId xmlns:p14="http://schemas.microsoft.com/office/powerpoint/2010/main" val="11499652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B6F0B-30AE-5DEA-F5BA-BBF13162343F}"/>
              </a:ext>
            </a:extLst>
          </p:cNvPr>
          <p:cNvSpPr>
            <a:spLocks noGrp="1"/>
          </p:cNvSpPr>
          <p:nvPr>
            <p:ph type="title"/>
          </p:nvPr>
        </p:nvSpPr>
        <p:spPr/>
        <p:txBody>
          <a:bodyPr/>
          <a:lstStyle/>
          <a:p>
            <a:r>
              <a:rPr lang="en-US" dirty="0"/>
              <a:t>Click to edit Master title style</a:t>
            </a:r>
            <a:endParaRPr lang="en-GB" dirty="0"/>
          </a:p>
        </p:txBody>
      </p:sp>
      <p:sp>
        <p:nvSpPr>
          <p:cNvPr id="4" name="Footer Placeholder 3">
            <a:extLst>
              <a:ext uri="{FF2B5EF4-FFF2-40B4-BE49-F238E27FC236}">
                <a16:creationId xmlns:a16="http://schemas.microsoft.com/office/drawing/2014/main" id="{8C7B060E-659D-8070-B56C-97EDC1E2A3B6}"/>
              </a:ext>
            </a:extLst>
          </p:cNvPr>
          <p:cNvSpPr>
            <a:spLocks noGrp="1"/>
          </p:cNvSpPr>
          <p:nvPr>
            <p:ph type="ftr" sz="quarter" idx="11"/>
          </p:nvPr>
        </p:nvSpPr>
        <p:spPr/>
        <p:txBody>
          <a:bodyPr/>
          <a:lstStyle>
            <a:lvl1pPr>
              <a:defRPr sz="900">
                <a:solidFill>
                  <a:schemeClr val="bg1">
                    <a:lumMod val="50000"/>
                  </a:schemeClr>
                </a:solidFill>
              </a:defRPr>
            </a:lvl1pPr>
          </a:lstStyle>
          <a:p>
            <a:endParaRPr lang="en-GB"/>
          </a:p>
        </p:txBody>
      </p:sp>
      <p:sp>
        <p:nvSpPr>
          <p:cNvPr id="6" name="Slide Number Placeholder 10">
            <a:extLst>
              <a:ext uri="{FF2B5EF4-FFF2-40B4-BE49-F238E27FC236}">
                <a16:creationId xmlns:a16="http://schemas.microsoft.com/office/drawing/2014/main" id="{42F4AEDC-AC07-E1A2-C226-F672D6010B4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7" name="Text Placeholder 8">
            <a:extLst>
              <a:ext uri="{FF2B5EF4-FFF2-40B4-BE49-F238E27FC236}">
                <a16:creationId xmlns:a16="http://schemas.microsoft.com/office/drawing/2014/main" id="{DC930D61-A9C3-2BCF-EF8F-0C1149B6308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3027313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with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682278-B19C-CE8F-0F1E-C607319BD299}"/>
              </a:ext>
            </a:extLst>
          </p:cNvPr>
          <p:cNvSpPr>
            <a:spLocks noGrp="1"/>
          </p:cNvSpPr>
          <p:nvPr>
            <p:ph type="title"/>
          </p:nvPr>
        </p:nvSpPr>
        <p:spPr>
          <a:xfrm>
            <a:off x="179386" y="179388"/>
            <a:ext cx="11833228" cy="640080"/>
          </a:xfrm>
        </p:spPr>
        <p:txBody>
          <a:bodyPr/>
          <a:lstStyle/>
          <a:p>
            <a:r>
              <a:rPr lang="en-US" dirty="0"/>
              <a:t>Click to edit Master title style</a:t>
            </a:r>
            <a:endParaRPr lang="en-GB" dirty="0"/>
          </a:p>
        </p:txBody>
      </p:sp>
      <p:sp>
        <p:nvSpPr>
          <p:cNvPr id="5" name="Footer Placeholder 4">
            <a:extLst>
              <a:ext uri="{FF2B5EF4-FFF2-40B4-BE49-F238E27FC236}">
                <a16:creationId xmlns:a16="http://schemas.microsoft.com/office/drawing/2014/main" id="{1BD1A543-5EA8-8303-5ADD-A618A726B6EB}"/>
              </a:ext>
            </a:extLst>
          </p:cNvPr>
          <p:cNvSpPr>
            <a:spLocks noGrp="1"/>
          </p:cNvSpPr>
          <p:nvPr>
            <p:ph type="ftr" sz="quarter" idx="11"/>
          </p:nvPr>
        </p:nvSpPr>
        <p:spPr>
          <a:xfrm>
            <a:off x="642796" y="6318250"/>
            <a:ext cx="9464040" cy="365125"/>
          </a:xfrm>
        </p:spPr>
        <p:txBody>
          <a:bodyPr/>
          <a:lstStyle>
            <a:lvl1pPr>
              <a:defRPr sz="900">
                <a:solidFill>
                  <a:schemeClr val="bg1">
                    <a:lumMod val="50000"/>
                  </a:schemeClr>
                </a:solidFill>
              </a:defRPr>
            </a:lvl1pPr>
          </a:lstStyle>
          <a:p>
            <a:endParaRPr lang="en-GB" dirty="0"/>
          </a:p>
        </p:txBody>
      </p:sp>
      <p:sp>
        <p:nvSpPr>
          <p:cNvPr id="7" name="Slide Number Placeholder 10">
            <a:extLst>
              <a:ext uri="{FF2B5EF4-FFF2-40B4-BE49-F238E27FC236}">
                <a16:creationId xmlns:a16="http://schemas.microsoft.com/office/drawing/2014/main" id="{19C5502E-2047-75A1-4B54-0F988427FB9B}"/>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7E8069EB-A80A-FBDB-8EED-94482BDCC19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8" name="Text Placeholder 7">
            <a:extLst>
              <a:ext uri="{FF2B5EF4-FFF2-40B4-BE49-F238E27FC236}">
                <a16:creationId xmlns:a16="http://schemas.microsoft.com/office/drawing/2014/main" id="{9E8BCAC4-3C43-F2C0-B838-17CF75BCC469}"/>
              </a:ext>
            </a:extLst>
          </p:cNvPr>
          <p:cNvSpPr>
            <a:spLocks noGrp="1"/>
          </p:cNvSpPr>
          <p:nvPr>
            <p:ph type="body" sz="quarter" idx="13" hasCustomPrompt="1"/>
          </p:nvPr>
        </p:nvSpPr>
        <p:spPr>
          <a:xfrm>
            <a:off x="179386" y="880946"/>
            <a:ext cx="11832336" cy="301752"/>
          </a:xfrm>
        </p:spPr>
        <p:txBody>
          <a:bodyPr>
            <a:normAutofit/>
          </a:bodyPr>
          <a:lstStyle>
            <a:lvl1pPr marL="0" indent="0">
              <a:buNone/>
              <a:defRPr sz="1600">
                <a:solidFill>
                  <a:schemeClr val="tx2"/>
                </a:solidFill>
              </a:defRPr>
            </a:lvl1pPr>
          </a:lstStyle>
          <a:p>
            <a:pPr lvl="0"/>
            <a:r>
              <a:rPr lang="en-US" dirty="0"/>
              <a:t>Add subtitle here</a:t>
            </a:r>
          </a:p>
        </p:txBody>
      </p:sp>
    </p:spTree>
    <p:extLst>
      <p:ext uri="{BB962C8B-B14F-4D97-AF65-F5344CB8AC3E}">
        <p14:creationId xmlns:p14="http://schemas.microsoft.com/office/powerpoint/2010/main" val="2138613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D1732F-D529-B665-D527-E7EA5A8E207F}"/>
              </a:ext>
            </a:extLst>
          </p:cNvPr>
          <p:cNvGraphicFramePr>
            <a:graphicFrameLocks noChangeAspect="1"/>
          </p:cNvGraphicFramePr>
          <p:nvPr userDrawn="1">
            <p:custDataLst>
              <p:tags r:id="rId1"/>
            </p:custDataLst>
            <p:extLst>
              <p:ext uri="{D42A27DB-BD31-4B8C-83A1-F6EECF244321}">
                <p14:modId xmlns:p14="http://schemas.microsoft.com/office/powerpoint/2010/main" val="300391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CFD1732F-D529-B665-D527-E7EA5A8E2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277841"/>
            <a:ext cx="11831638" cy="3422935"/>
          </a:xfrm>
        </p:spPr>
        <p:txBody>
          <a:bodyPr anchor="ctr"/>
          <a:lstStyle>
            <a:lvl1pPr marL="0" indent="0" algn="ctr">
              <a:buNone/>
              <a:defRPr>
                <a:latin typeface="+mn-lt"/>
              </a:defRPr>
            </a:lvl1pPr>
          </a:lstStyle>
          <a:p>
            <a:r>
              <a:rPr lang="en-US"/>
              <a:t>Click icon to add chart</a:t>
            </a:r>
            <a:endParaRPr lang="en-US" dirty="0"/>
          </a:p>
        </p:txBody>
      </p:sp>
      <p:sp>
        <p:nvSpPr>
          <p:cNvPr id="12" name="Text Placeholder 11">
            <a:extLst>
              <a:ext uri="{FF2B5EF4-FFF2-40B4-BE49-F238E27FC236}">
                <a16:creationId xmlns:a16="http://schemas.microsoft.com/office/drawing/2014/main" id="{B9D8AC9A-FBF2-3F13-4558-33413AB80C8F}"/>
              </a:ext>
            </a:extLst>
          </p:cNvPr>
          <p:cNvSpPr>
            <a:spLocks noGrp="1"/>
          </p:cNvSpPr>
          <p:nvPr>
            <p:ph type="body" sz="quarter" idx="16" hasCustomPrompt="1"/>
          </p:nvPr>
        </p:nvSpPr>
        <p:spPr>
          <a:xfrm>
            <a:off x="179386" y="1339912"/>
            <a:ext cx="11832336"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Chart Header</a:t>
            </a:r>
          </a:p>
        </p:txBody>
      </p:sp>
      <p:cxnSp>
        <p:nvCxnSpPr>
          <p:cNvPr id="14" name="Straight Connector 13">
            <a:extLst>
              <a:ext uri="{FF2B5EF4-FFF2-40B4-BE49-F238E27FC236}">
                <a16:creationId xmlns:a16="http://schemas.microsoft.com/office/drawing/2014/main" id="{9ED6DA57-F044-E4E9-B09C-CBC65D706C40}"/>
              </a:ext>
            </a:extLst>
          </p:cNvPr>
          <p:cNvCxnSpPr>
            <a:cxnSpLocks/>
          </p:cNvCxnSpPr>
          <p:nvPr userDrawn="1"/>
        </p:nvCxnSpPr>
        <p:spPr>
          <a:xfrm>
            <a:off x="179386" y="1688546"/>
            <a:ext cx="1183233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92F5E6C1-4525-B790-87D5-2A7FE6228523}"/>
              </a:ext>
            </a:extLst>
          </p:cNvPr>
          <p:cNvSpPr>
            <a:spLocks noGrp="1"/>
          </p:cNvSpPr>
          <p:nvPr>
            <p:ph type="body" sz="quarter" idx="17" hasCustomPrompt="1"/>
          </p:nvPr>
        </p:nvSpPr>
        <p:spPr>
          <a:xfrm>
            <a:off x="179386" y="1801639"/>
            <a:ext cx="11832336" cy="369332"/>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Axis titles: left aligned; same font size as axis labels; specifies precisely the data shown on chart; unit, year shown in parentheses on separate line if axis title is long (e.g., $M, 2020)</a:t>
            </a:r>
          </a:p>
        </p:txBody>
      </p:sp>
      <p:sp>
        <p:nvSpPr>
          <p:cNvPr id="15" name="Text Placeholder 12">
            <a:extLst>
              <a:ext uri="{FF2B5EF4-FFF2-40B4-BE49-F238E27FC236}">
                <a16:creationId xmlns:a16="http://schemas.microsoft.com/office/drawing/2014/main" id="{20A47F62-FC74-40DE-B177-DEA68AA0A02A}"/>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5" name="Title 4">
            <a:extLst>
              <a:ext uri="{FF2B5EF4-FFF2-40B4-BE49-F238E27FC236}">
                <a16:creationId xmlns:a16="http://schemas.microsoft.com/office/drawing/2014/main" id="{4F2BE3C1-31C0-1E13-2469-94820B6DF839}"/>
              </a:ext>
            </a:extLst>
          </p:cNvPr>
          <p:cNvSpPr>
            <a:spLocks noGrp="1"/>
          </p:cNvSpPr>
          <p:nvPr>
            <p:ph type="title"/>
          </p:nvPr>
        </p:nvSpPr>
        <p:spPr/>
        <p:txBody>
          <a:bodyPr/>
          <a:lstStyle/>
          <a:p>
            <a:r>
              <a:rPr lang="en-US" dirty="0"/>
              <a:t>Click to edit Master title style</a:t>
            </a:r>
            <a:endParaRPr lang="en-GB" dirty="0"/>
          </a:p>
        </p:txBody>
      </p:sp>
      <p:sp>
        <p:nvSpPr>
          <p:cNvPr id="9" name="Footer Placeholder 8">
            <a:extLst>
              <a:ext uri="{FF2B5EF4-FFF2-40B4-BE49-F238E27FC236}">
                <a16:creationId xmlns:a16="http://schemas.microsoft.com/office/drawing/2014/main" id="{B2010E47-5549-2AA6-42EB-009A7BB5FFAC}"/>
              </a:ext>
            </a:extLst>
          </p:cNvPr>
          <p:cNvSpPr>
            <a:spLocks noGrp="1"/>
          </p:cNvSpPr>
          <p:nvPr>
            <p:ph type="ftr" sz="quarter" idx="18"/>
          </p:nvPr>
        </p:nvSpPr>
        <p:spPr/>
        <p:txBody>
          <a:bodyPr/>
          <a:lstStyle>
            <a:lvl1pPr>
              <a:defRPr sz="900"/>
            </a:lvl1pPr>
          </a:lstStyle>
          <a:p>
            <a:endParaRPr lang="en-GB" dirty="0"/>
          </a:p>
        </p:txBody>
      </p:sp>
      <p:sp>
        <p:nvSpPr>
          <p:cNvPr id="10" name="Slide Number Placeholder 9">
            <a:extLst>
              <a:ext uri="{FF2B5EF4-FFF2-40B4-BE49-F238E27FC236}">
                <a16:creationId xmlns:a16="http://schemas.microsoft.com/office/drawing/2014/main" id="{D5573A97-6FAA-445D-8CA4-66EF27D8B790}"/>
              </a:ext>
            </a:extLst>
          </p:cNvPr>
          <p:cNvSpPr>
            <a:spLocks noGrp="1"/>
          </p:cNvSpPr>
          <p:nvPr>
            <p:ph type="sldNum" sz="quarter" idx="19"/>
          </p:nvPr>
        </p:nvSpPr>
        <p:spPr/>
        <p:txBody>
          <a:bodyPr/>
          <a:lstStyle>
            <a:lvl1pPr>
              <a:defRPr sz="900"/>
            </a:lvl1pPr>
          </a:lstStyle>
          <a:p>
            <a:fld id="{DDF71BC8-773F-4A54-968E-450E29C75AD4}" type="slidenum">
              <a:rPr lang="en-GB" smtClean="0"/>
              <a:pPr/>
              <a:t>‹#›</a:t>
            </a:fld>
            <a:endParaRPr lang="en-GB" dirty="0"/>
          </a:p>
        </p:txBody>
      </p:sp>
      <p:sp>
        <p:nvSpPr>
          <p:cNvPr id="11" name="Text Placeholder 8">
            <a:extLst>
              <a:ext uri="{FF2B5EF4-FFF2-40B4-BE49-F238E27FC236}">
                <a16:creationId xmlns:a16="http://schemas.microsoft.com/office/drawing/2014/main" id="{F39BD915-247A-4362-28F3-0FC61338A8A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5297184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Layout with no Head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0FCC00E-F3E1-DB7E-ADA8-2640A4A1B766}"/>
              </a:ext>
            </a:extLst>
          </p:cNvPr>
          <p:cNvGraphicFramePr>
            <a:graphicFrameLocks noChangeAspect="1"/>
          </p:cNvGraphicFramePr>
          <p:nvPr userDrawn="1">
            <p:custDataLst>
              <p:tags r:id="rId1"/>
            </p:custDataLst>
            <p:extLst>
              <p:ext uri="{D42A27DB-BD31-4B8C-83A1-F6EECF244321}">
                <p14:modId xmlns:p14="http://schemas.microsoft.com/office/powerpoint/2010/main" val="5794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5" name="Object 14" hidden="1">
                        <a:extLst>
                          <a:ext uri="{FF2B5EF4-FFF2-40B4-BE49-F238E27FC236}">
                            <a16:creationId xmlns:a16="http://schemas.microsoft.com/office/drawing/2014/main" id="{70FCC00E-F3E1-DB7E-ADA8-2640A4A1B7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1830601"/>
            <a:ext cx="11831638" cy="3870175"/>
          </a:xfrm>
        </p:spPr>
        <p:txBody>
          <a:bodyPr anchor="ctr"/>
          <a:lstStyle>
            <a:lvl1pPr marL="0" indent="0" algn="ctr">
              <a:buNone/>
              <a:defRPr>
                <a:latin typeface="+mn-lt"/>
              </a:defRPr>
            </a:lvl1pPr>
          </a:lstStyle>
          <a:p>
            <a:r>
              <a:rPr lang="en-US"/>
              <a:t>Click icon to add chart</a:t>
            </a:r>
          </a:p>
        </p:txBody>
      </p:sp>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p:txBody>
          <a:bodyPr vert="horz"/>
          <a:lstStyle>
            <a:lvl1pPr>
              <a:defRPr>
                <a:latin typeface="+mj-lt"/>
                <a:sym typeface="Source Sans Pro" panose="020B0503030403020204" pitchFamily="34" charset="0"/>
              </a:defRPr>
            </a:lvl1pPr>
          </a:lstStyle>
          <a:p>
            <a:r>
              <a:rPr lang="en-US" dirty="0"/>
              <a:t>Click to edit Master title style</a:t>
            </a:r>
          </a:p>
        </p:txBody>
      </p:sp>
      <p:sp>
        <p:nvSpPr>
          <p:cNvPr id="12" name="Text Placeholder 12">
            <a:extLst>
              <a:ext uri="{FF2B5EF4-FFF2-40B4-BE49-F238E27FC236}">
                <a16:creationId xmlns:a16="http://schemas.microsoft.com/office/drawing/2014/main" id="{0652D6C5-3959-8F15-F50B-CCFC7F32B141}"/>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13" name="Text Placeholder 11">
            <a:extLst>
              <a:ext uri="{FF2B5EF4-FFF2-40B4-BE49-F238E27FC236}">
                <a16:creationId xmlns:a16="http://schemas.microsoft.com/office/drawing/2014/main" id="{AB3606BA-72E4-1DF7-EB81-AB3B9ACA8EFE}"/>
              </a:ext>
            </a:extLst>
          </p:cNvPr>
          <p:cNvSpPr>
            <a:spLocks noGrp="1"/>
          </p:cNvSpPr>
          <p:nvPr>
            <p:ph type="body" sz="quarter" idx="17" hasCustomPrompt="1"/>
          </p:nvPr>
        </p:nvSpPr>
        <p:spPr>
          <a:xfrm>
            <a:off x="179386" y="1339911"/>
            <a:ext cx="11832336" cy="36576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Axis titles: left aligned; same font size as axis labels; specifies precisely the data shown on chart; unit, year shown in parentheses on separate line if axis title is long (e.g., $M, 2020)</a:t>
            </a:r>
          </a:p>
        </p:txBody>
      </p:sp>
      <p:sp>
        <p:nvSpPr>
          <p:cNvPr id="4" name="Footer Placeholder 3">
            <a:extLst>
              <a:ext uri="{FF2B5EF4-FFF2-40B4-BE49-F238E27FC236}">
                <a16:creationId xmlns:a16="http://schemas.microsoft.com/office/drawing/2014/main" id="{BC124CC9-DB10-9079-902B-0F568280D51E}"/>
              </a:ext>
            </a:extLst>
          </p:cNvPr>
          <p:cNvSpPr>
            <a:spLocks noGrp="1"/>
          </p:cNvSpPr>
          <p:nvPr>
            <p:ph type="ftr" sz="quarter" idx="18"/>
          </p:nvPr>
        </p:nvSpPr>
        <p:spPr/>
        <p:txBody>
          <a:bodyPr/>
          <a:lstStyle>
            <a:lvl1pPr>
              <a:defRPr sz="900"/>
            </a:lvl1pPr>
          </a:lstStyle>
          <a:p>
            <a:endParaRPr lang="en-GB" dirty="0"/>
          </a:p>
        </p:txBody>
      </p:sp>
      <p:sp>
        <p:nvSpPr>
          <p:cNvPr id="5" name="Slide Number Placeholder 4">
            <a:extLst>
              <a:ext uri="{FF2B5EF4-FFF2-40B4-BE49-F238E27FC236}">
                <a16:creationId xmlns:a16="http://schemas.microsoft.com/office/drawing/2014/main" id="{84916EC3-F837-995A-2801-AFDD39E61B12}"/>
              </a:ext>
            </a:extLst>
          </p:cNvPr>
          <p:cNvSpPr>
            <a:spLocks noGrp="1"/>
          </p:cNvSpPr>
          <p:nvPr>
            <p:ph type="sldNum" sz="quarter" idx="19"/>
          </p:nvPr>
        </p:nvSpPr>
        <p:spPr/>
        <p:txBody>
          <a:bodyPr/>
          <a:lstStyle>
            <a:lvl1pPr>
              <a:defRPr sz="900"/>
            </a:lvl1pPr>
          </a:lstStyle>
          <a:p>
            <a:fld id="{DDF71BC8-773F-4A54-968E-450E29C75AD4}" type="slidenum">
              <a:rPr lang="en-GB" smtClean="0"/>
              <a:pPr/>
              <a:t>‹#›</a:t>
            </a:fld>
            <a:endParaRPr lang="en-GB" dirty="0"/>
          </a:p>
        </p:txBody>
      </p:sp>
      <p:sp>
        <p:nvSpPr>
          <p:cNvPr id="10" name="Text Placeholder 8">
            <a:extLst>
              <a:ext uri="{FF2B5EF4-FFF2-40B4-BE49-F238E27FC236}">
                <a16:creationId xmlns:a16="http://schemas.microsoft.com/office/drawing/2014/main" id="{3B8DDF98-9B5F-1064-5461-3AE0AA9FA546}"/>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46636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61F00-E179-94E1-FCE2-578FAA6A7567}"/>
              </a:ext>
            </a:extLst>
          </p:cNvPr>
          <p:cNvSpPr>
            <a:spLocks noGrp="1"/>
          </p:cNvSpPr>
          <p:nvPr>
            <p:ph type="title"/>
          </p:nvPr>
        </p:nvSpPr>
        <p:spPr>
          <a:xfrm>
            <a:off x="179386" y="179388"/>
            <a:ext cx="11833228" cy="713232"/>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4B2EFA9E-C789-21C1-5268-F9A23C87C9DB}"/>
              </a:ext>
            </a:extLst>
          </p:cNvPr>
          <p:cNvSpPr>
            <a:spLocks noGrp="1"/>
          </p:cNvSpPr>
          <p:nvPr>
            <p:ph sz="half" idx="1"/>
          </p:nvPr>
        </p:nvSpPr>
        <p:spPr>
          <a:xfrm>
            <a:off x="179386" y="1320800"/>
            <a:ext cx="5824728" cy="43799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4A3BC08D-147E-ADAE-6211-E21304C1D634}"/>
              </a:ext>
            </a:extLst>
          </p:cNvPr>
          <p:cNvSpPr>
            <a:spLocks noGrp="1"/>
          </p:cNvSpPr>
          <p:nvPr>
            <p:ph sz="half" idx="2"/>
          </p:nvPr>
        </p:nvSpPr>
        <p:spPr>
          <a:xfrm>
            <a:off x="6187886" y="1320800"/>
            <a:ext cx="5824728" cy="43799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0BD6052C-7C94-0F88-0C90-7EC15CCB9B8D}"/>
              </a:ext>
            </a:extLst>
          </p:cNvPr>
          <p:cNvSpPr>
            <a:spLocks noGrp="1"/>
          </p:cNvSpPr>
          <p:nvPr>
            <p:ph type="ftr" sz="quarter" idx="11"/>
          </p:nvPr>
        </p:nvSpPr>
        <p:spPr/>
        <p:txBody>
          <a:bodyPr/>
          <a:lstStyle>
            <a:lvl1pPr>
              <a:defRPr sz="900"/>
            </a:lvl1pPr>
          </a:lstStyle>
          <a:p>
            <a:endParaRPr lang="en-GB" dirty="0"/>
          </a:p>
        </p:txBody>
      </p:sp>
      <p:sp>
        <p:nvSpPr>
          <p:cNvPr id="9" name="Slide Number Placeholder 10">
            <a:extLst>
              <a:ext uri="{FF2B5EF4-FFF2-40B4-BE49-F238E27FC236}">
                <a16:creationId xmlns:a16="http://schemas.microsoft.com/office/drawing/2014/main" id="{38434448-B94F-C4B3-7DEC-3371E96C5FBF}"/>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10" name="Text Placeholder 8">
            <a:extLst>
              <a:ext uri="{FF2B5EF4-FFF2-40B4-BE49-F238E27FC236}">
                <a16:creationId xmlns:a16="http://schemas.microsoft.com/office/drawing/2014/main" id="{0F2A281C-9008-2BF7-233B-F79D5B83A4D8}"/>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10509404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EB12D1-E7A8-2BEA-9559-D4A0A0066F0B}"/>
              </a:ext>
            </a:extLst>
          </p:cNvPr>
          <p:cNvSpPr>
            <a:spLocks noGrp="1"/>
          </p:cNvSpPr>
          <p:nvPr>
            <p:ph type="body" idx="1"/>
          </p:nvPr>
        </p:nvSpPr>
        <p:spPr>
          <a:xfrm>
            <a:off x="179386" y="1320799"/>
            <a:ext cx="5824728" cy="514951"/>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FA77D1CD-D3D4-6393-4B8F-49E5C4E8C9B0}"/>
              </a:ext>
            </a:extLst>
          </p:cNvPr>
          <p:cNvSpPr>
            <a:spLocks noGrp="1"/>
          </p:cNvSpPr>
          <p:nvPr>
            <p:ph sz="half" idx="2"/>
          </p:nvPr>
        </p:nvSpPr>
        <p:spPr>
          <a:xfrm>
            <a:off x="179386" y="2011426"/>
            <a:ext cx="5824728" cy="36893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80B19B86-1143-6A0C-12DF-6C8047EA567A}"/>
              </a:ext>
            </a:extLst>
          </p:cNvPr>
          <p:cNvSpPr>
            <a:spLocks noGrp="1"/>
          </p:cNvSpPr>
          <p:nvPr>
            <p:ph type="body" sz="quarter" idx="3"/>
          </p:nvPr>
        </p:nvSpPr>
        <p:spPr>
          <a:xfrm>
            <a:off x="6187886" y="1320799"/>
            <a:ext cx="5824728" cy="514951"/>
          </a:xfrm>
        </p:spPr>
        <p:txBody>
          <a:bodyPr anchor="b">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1F044B31-EE79-3FDD-30AF-217F5E26D3CF}"/>
              </a:ext>
            </a:extLst>
          </p:cNvPr>
          <p:cNvSpPr>
            <a:spLocks noGrp="1"/>
          </p:cNvSpPr>
          <p:nvPr>
            <p:ph sz="quarter" idx="4"/>
          </p:nvPr>
        </p:nvSpPr>
        <p:spPr>
          <a:xfrm>
            <a:off x="6187886" y="2011426"/>
            <a:ext cx="5824728" cy="36893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ooter Placeholder 7">
            <a:extLst>
              <a:ext uri="{FF2B5EF4-FFF2-40B4-BE49-F238E27FC236}">
                <a16:creationId xmlns:a16="http://schemas.microsoft.com/office/drawing/2014/main" id="{E41E0049-977E-5D37-76E2-5159BE405FE9}"/>
              </a:ext>
            </a:extLst>
          </p:cNvPr>
          <p:cNvSpPr>
            <a:spLocks noGrp="1"/>
          </p:cNvSpPr>
          <p:nvPr>
            <p:ph type="ftr" sz="quarter" idx="11"/>
          </p:nvPr>
        </p:nvSpPr>
        <p:spPr/>
        <p:txBody>
          <a:bodyPr/>
          <a:lstStyle>
            <a:lvl1pPr>
              <a:defRPr sz="900"/>
            </a:lvl1pPr>
          </a:lstStyle>
          <a:p>
            <a:endParaRPr lang="en-GB"/>
          </a:p>
        </p:txBody>
      </p:sp>
      <p:sp>
        <p:nvSpPr>
          <p:cNvPr id="10" name="Slide Number Placeholder 10">
            <a:extLst>
              <a:ext uri="{FF2B5EF4-FFF2-40B4-BE49-F238E27FC236}">
                <a16:creationId xmlns:a16="http://schemas.microsoft.com/office/drawing/2014/main" id="{9EEBB2FF-E8B5-8E04-EBA0-A8E76FD54DD1}"/>
              </a:ext>
            </a:extLst>
          </p:cNvPr>
          <p:cNvSpPr>
            <a:spLocks noGrp="1"/>
          </p:cNvSpPr>
          <p:nvPr>
            <p:ph type="sldNum" sz="quarter" idx="12"/>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11" name="Text Placeholder 8">
            <a:extLst>
              <a:ext uri="{FF2B5EF4-FFF2-40B4-BE49-F238E27FC236}">
                <a16:creationId xmlns:a16="http://schemas.microsoft.com/office/drawing/2014/main" id="{5490769D-37D1-9DF1-AB67-394C9CEFCF43}"/>
              </a:ext>
            </a:extLst>
          </p:cNvPr>
          <p:cNvSpPr>
            <a:spLocks noGrp="1"/>
          </p:cNvSpPr>
          <p:nvPr>
            <p:ph type="body" sz="quarter" idx="13"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13" name="Title 12">
            <a:extLst>
              <a:ext uri="{FF2B5EF4-FFF2-40B4-BE49-F238E27FC236}">
                <a16:creationId xmlns:a16="http://schemas.microsoft.com/office/drawing/2014/main" id="{E5A2C796-19DA-18A4-D8CF-C68C0EC6C101}"/>
              </a:ext>
            </a:extLst>
          </p:cNvPr>
          <p:cNvSpPr>
            <a:spLocks noGrp="1"/>
          </p:cNvSpPr>
          <p:nvPr>
            <p:ph type="title"/>
          </p:nvPr>
        </p:nvSpPr>
        <p:spPr>
          <a:xfrm>
            <a:off x="179386" y="179388"/>
            <a:ext cx="11833228" cy="713232"/>
          </a:xfrm>
        </p:spPr>
        <p:txBody>
          <a:bodyPr/>
          <a:lstStyle/>
          <a:p>
            <a:r>
              <a:rPr lang="en-US"/>
              <a:t>Click to edit Master title style</a:t>
            </a:r>
            <a:endParaRPr lang="en-GB"/>
          </a:p>
        </p:txBody>
      </p:sp>
    </p:spTree>
    <p:extLst>
      <p:ext uri="{BB962C8B-B14F-4D97-AF65-F5344CB8AC3E}">
        <p14:creationId xmlns:p14="http://schemas.microsoft.com/office/powerpoint/2010/main" val="3534072852"/>
      </p:ext>
    </p:extLst>
  </p:cSld>
  <p:clrMapOvr>
    <a:masterClrMapping/>
  </p:clrMapOvr>
  <p:extLst>
    <p:ext uri="{DCECCB84-F9BA-43D5-87BE-67443E8EF086}">
      <p15:sldGuideLst xmlns:p15="http://schemas.microsoft.com/office/powerpoint/2012/main">
        <p15:guide id="1" orient="horz" pos="1264" userDrawn="1">
          <p15:clr>
            <a:srgbClr val="FBAE40"/>
          </p15:clr>
        </p15:guide>
        <p15:guide id="2" orient="horz" pos="115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Text with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882786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6249"/>
            <a:ext cx="5824728" cy="3864527"/>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298" y="1836249"/>
            <a:ext cx="5824728" cy="3864527"/>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9" name="Text Placeholder 2">
            <a:extLst>
              <a:ext uri="{FF2B5EF4-FFF2-40B4-BE49-F238E27FC236}">
                <a16:creationId xmlns:a16="http://schemas.microsoft.com/office/drawing/2014/main" id="{04B795D8-3207-E074-ACFA-A9C426D995E7}"/>
              </a:ext>
            </a:extLst>
          </p:cNvPr>
          <p:cNvSpPr>
            <a:spLocks noGrp="1"/>
          </p:cNvSpPr>
          <p:nvPr>
            <p:ph type="body" idx="1"/>
          </p:nvPr>
        </p:nvSpPr>
        <p:spPr>
          <a:xfrm>
            <a:off x="179388" y="1339912"/>
            <a:ext cx="5824728" cy="340739"/>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edit Master text styles</a:t>
            </a:r>
          </a:p>
        </p:txBody>
      </p:sp>
      <p:sp>
        <p:nvSpPr>
          <p:cNvPr id="20" name="Text Placeholder 4">
            <a:extLst>
              <a:ext uri="{FF2B5EF4-FFF2-40B4-BE49-F238E27FC236}">
                <a16:creationId xmlns:a16="http://schemas.microsoft.com/office/drawing/2014/main" id="{AEB5BBDB-6017-7141-8B8A-79A989B5F7E0}"/>
              </a:ext>
            </a:extLst>
          </p:cNvPr>
          <p:cNvSpPr>
            <a:spLocks noGrp="1"/>
          </p:cNvSpPr>
          <p:nvPr>
            <p:ph type="body" sz="quarter" idx="3"/>
          </p:nvPr>
        </p:nvSpPr>
        <p:spPr>
          <a:xfrm>
            <a:off x="6186298" y="1339912"/>
            <a:ext cx="5824728" cy="340739"/>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Text Placeholder 12">
            <a:extLst>
              <a:ext uri="{FF2B5EF4-FFF2-40B4-BE49-F238E27FC236}">
                <a16:creationId xmlns:a16="http://schemas.microsoft.com/office/drawing/2014/main" id="{A6BBC261-350D-D6FB-C056-5619AD0BBD3F}"/>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cxnSp>
        <p:nvCxnSpPr>
          <p:cNvPr id="22" name="Straight Connector 21">
            <a:extLst>
              <a:ext uri="{FF2B5EF4-FFF2-40B4-BE49-F238E27FC236}">
                <a16:creationId xmlns:a16="http://schemas.microsoft.com/office/drawing/2014/main" id="{C51D98D4-86EC-6A37-AD76-87A1F69BDAB0}"/>
              </a:ext>
            </a:extLst>
          </p:cNvPr>
          <p:cNvCxnSpPr>
            <a:cxnSpLocks/>
          </p:cNvCxnSpPr>
          <p:nvPr userDrawn="1"/>
        </p:nvCxnSpPr>
        <p:spPr>
          <a:xfrm>
            <a:off x="179386" y="1719987"/>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4C5C254-8F46-A7E5-1A01-921E08B8F9F6}"/>
              </a:ext>
            </a:extLst>
          </p:cNvPr>
          <p:cNvCxnSpPr>
            <a:cxnSpLocks/>
          </p:cNvCxnSpPr>
          <p:nvPr userDrawn="1"/>
        </p:nvCxnSpPr>
        <p:spPr>
          <a:xfrm>
            <a:off x="6186298" y="1719987"/>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3996102B-C01A-372F-AB98-BDCCE29F327C}"/>
              </a:ext>
            </a:extLst>
          </p:cNvPr>
          <p:cNvSpPr>
            <a:spLocks noGrp="1"/>
          </p:cNvSpPr>
          <p:nvPr>
            <p:ph type="ftr" sz="quarter" idx="15"/>
          </p:nvPr>
        </p:nvSpPr>
        <p:spPr/>
        <p:txBody>
          <a:bodyPr/>
          <a:lstStyle>
            <a:lvl1pPr>
              <a:defRPr sz="900"/>
            </a:lvl1pPr>
          </a:lstStyle>
          <a:p>
            <a:endParaRPr lang="en-GB" dirty="0"/>
          </a:p>
        </p:txBody>
      </p:sp>
      <p:sp>
        <p:nvSpPr>
          <p:cNvPr id="5" name="Slide Number Placeholder 4">
            <a:extLst>
              <a:ext uri="{FF2B5EF4-FFF2-40B4-BE49-F238E27FC236}">
                <a16:creationId xmlns:a16="http://schemas.microsoft.com/office/drawing/2014/main" id="{63E1A4AC-D8D2-A3FF-242E-FCDDF62C0A88}"/>
              </a:ext>
            </a:extLst>
          </p:cNvPr>
          <p:cNvSpPr>
            <a:spLocks noGrp="1"/>
          </p:cNvSpPr>
          <p:nvPr>
            <p:ph type="sldNum" sz="quarter" idx="16"/>
          </p:nvPr>
        </p:nvSpPr>
        <p:spPr/>
        <p:txBody>
          <a:bodyPr/>
          <a:lstStyle>
            <a:lvl1pPr>
              <a:defRPr sz="900"/>
            </a:lvl1pPr>
          </a:lstStyle>
          <a:p>
            <a:fld id="{DDF71BC8-773F-4A54-968E-450E29C75AD4}" type="slidenum">
              <a:rPr lang="en-GB" smtClean="0"/>
              <a:pPr/>
              <a:t>‹#›</a:t>
            </a:fld>
            <a:endParaRPr lang="en-GB" dirty="0"/>
          </a:p>
        </p:txBody>
      </p:sp>
      <p:sp>
        <p:nvSpPr>
          <p:cNvPr id="8" name="Text Placeholder 8">
            <a:extLst>
              <a:ext uri="{FF2B5EF4-FFF2-40B4-BE49-F238E27FC236}">
                <a16:creationId xmlns:a16="http://schemas.microsoft.com/office/drawing/2014/main" id="{5CD464C0-D87A-99FF-9ED4-D254D3E8F1FC}"/>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341520855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without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337641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320800"/>
            <a:ext cx="5824728"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297" y="1320800"/>
            <a:ext cx="5824728"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p:txBody>
          <a:bodyPr vert="horz"/>
          <a:lstStyle>
            <a:lvl1pPr>
              <a:defRPr>
                <a:latin typeface="+mj-lt"/>
                <a:sym typeface="Source Sans Pro" panose="020B0503030403020204" pitchFamily="34" charset="0"/>
              </a:defRPr>
            </a:lvl1pPr>
          </a:lstStyle>
          <a:p>
            <a:r>
              <a:rPr lang="en-US" dirty="0"/>
              <a:t>Click to edit Master title style</a:t>
            </a:r>
          </a:p>
        </p:txBody>
      </p:sp>
      <p:sp>
        <p:nvSpPr>
          <p:cNvPr id="15" name="Text Placeholder 12">
            <a:extLst>
              <a:ext uri="{FF2B5EF4-FFF2-40B4-BE49-F238E27FC236}">
                <a16:creationId xmlns:a16="http://schemas.microsoft.com/office/drawing/2014/main" id="{3AFA8E82-99DD-AA70-B504-D151AFBB9EE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2" name="Footer Placeholder 1">
            <a:extLst>
              <a:ext uri="{FF2B5EF4-FFF2-40B4-BE49-F238E27FC236}">
                <a16:creationId xmlns:a16="http://schemas.microsoft.com/office/drawing/2014/main" id="{5BD40EE6-4A30-BEF0-390F-23293C1ADCC1}"/>
              </a:ext>
            </a:extLst>
          </p:cNvPr>
          <p:cNvSpPr>
            <a:spLocks noGrp="1"/>
          </p:cNvSpPr>
          <p:nvPr>
            <p:ph type="ftr" sz="quarter" idx="15"/>
          </p:nvPr>
        </p:nvSpPr>
        <p:spPr/>
        <p:txBody>
          <a:bodyPr/>
          <a:lstStyle>
            <a:lvl1pPr>
              <a:defRPr sz="900"/>
            </a:lvl1pPr>
          </a:lstStyle>
          <a:p>
            <a:endParaRPr lang="en-GB" dirty="0"/>
          </a:p>
        </p:txBody>
      </p:sp>
      <p:sp>
        <p:nvSpPr>
          <p:cNvPr id="5" name="Slide Number Placeholder 4">
            <a:extLst>
              <a:ext uri="{FF2B5EF4-FFF2-40B4-BE49-F238E27FC236}">
                <a16:creationId xmlns:a16="http://schemas.microsoft.com/office/drawing/2014/main" id="{3AA3692B-6B8A-315B-508F-48327538F341}"/>
              </a:ext>
            </a:extLst>
          </p:cNvPr>
          <p:cNvSpPr>
            <a:spLocks noGrp="1"/>
          </p:cNvSpPr>
          <p:nvPr>
            <p:ph type="sldNum" sz="quarter" idx="16"/>
          </p:nvPr>
        </p:nvSpPr>
        <p:spPr/>
        <p:txBody>
          <a:bodyPr/>
          <a:lstStyle>
            <a:lvl1pPr>
              <a:defRPr sz="900"/>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3AE813B8-5852-26D8-6C28-59A6EE4B141F}"/>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57438380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On Slide Titl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90430" y="1208854"/>
            <a:ext cx="8140581" cy="2387600"/>
          </a:xfrm>
        </p:spPr>
        <p:txBody>
          <a:bodyPr anchor="t">
            <a:normAutofit/>
          </a:bodyPr>
          <a:lstStyle>
            <a:lvl1pPr algn="l">
              <a:defRPr sz="6000">
                <a:solidFill>
                  <a:schemeClr val="bg1"/>
                </a:solidFill>
              </a:defRPr>
            </a:lvl1pPr>
          </a:lstStyle>
          <a:p>
            <a:r>
              <a:rPr lang="en-US" dirty="0"/>
              <a:t>Click to edit Master title style</a:t>
            </a:r>
            <a:endParaRPr lang="en-GB" dirty="0"/>
          </a:p>
        </p:txBody>
      </p:sp>
      <p:sp>
        <p:nvSpPr>
          <p:cNvPr id="4" name="Rectangle 3">
            <a:extLst>
              <a:ext uri="{FF2B5EF4-FFF2-40B4-BE49-F238E27FC236}">
                <a16:creationId xmlns:a16="http://schemas.microsoft.com/office/drawing/2014/main" id="{AC121084-1B93-C153-F4DE-2C384011BA5D}"/>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6" name="Text Placeholder 5">
            <a:extLst>
              <a:ext uri="{FF2B5EF4-FFF2-40B4-BE49-F238E27FC236}">
                <a16:creationId xmlns:a16="http://schemas.microsoft.com/office/drawing/2014/main" id="{0E6E6667-58FF-4166-F3FB-8005127F4ECF}"/>
              </a:ext>
            </a:extLst>
          </p:cNvPr>
          <p:cNvSpPr>
            <a:spLocks noGrp="1"/>
          </p:cNvSpPr>
          <p:nvPr>
            <p:ph type="body" sz="quarter" idx="10" hasCustomPrompt="1"/>
          </p:nvPr>
        </p:nvSpPr>
        <p:spPr>
          <a:xfrm>
            <a:off x="890431" y="3972973"/>
            <a:ext cx="8140580" cy="914400"/>
          </a:xfrm>
        </p:spPr>
        <p:txBody>
          <a:bodyPr>
            <a:noAutofit/>
          </a:bodyPr>
          <a:lstStyle>
            <a:lvl1pPr marL="0" indent="0">
              <a:buNone/>
              <a:defRPr sz="2000">
                <a:solidFill>
                  <a:schemeClr val="bg1"/>
                </a:solidFill>
              </a:defRPr>
            </a:lvl1pPr>
            <a:lvl2pPr marL="274320" indent="0">
              <a:buNone/>
              <a:defRPr sz="2000">
                <a:solidFill>
                  <a:schemeClr val="bg1"/>
                </a:solidFill>
              </a:defRPr>
            </a:lvl2pPr>
            <a:lvl3pPr marL="411480" indent="0">
              <a:buNone/>
              <a:defRPr sz="2000">
                <a:solidFill>
                  <a:schemeClr val="bg1"/>
                </a:solidFill>
              </a:defRPr>
            </a:lvl3pPr>
            <a:lvl4pPr marL="548640" indent="0">
              <a:buNone/>
              <a:defRPr sz="2000">
                <a:solidFill>
                  <a:schemeClr val="bg1"/>
                </a:solidFill>
              </a:defRPr>
            </a:lvl4pPr>
            <a:lvl5pPr marL="731520" indent="0">
              <a:buNone/>
              <a:defRPr sz="2000">
                <a:solidFill>
                  <a:schemeClr val="bg1"/>
                </a:solidFill>
              </a:defRPr>
            </a:lvl5pPr>
          </a:lstStyle>
          <a:p>
            <a:pPr lvl="0"/>
            <a:r>
              <a:rPr lang="en-US" dirty="0"/>
              <a:t>Click to edit Master subtitle style</a:t>
            </a:r>
          </a:p>
        </p:txBody>
      </p:sp>
      <p:pic>
        <p:nvPicPr>
          <p:cNvPr id="8" name="Picture 7" descr="A close up of a logo&#10;&#10;Description automatically generated">
            <a:extLst>
              <a:ext uri="{FF2B5EF4-FFF2-40B4-BE49-F238E27FC236}">
                <a16:creationId xmlns:a16="http://schemas.microsoft.com/office/drawing/2014/main" id="{E834E8CC-34CC-FF28-6ADE-FF00C5BC4B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654" r="7536" b="21822"/>
          <a:stretch/>
        </p:blipFill>
        <p:spPr>
          <a:xfrm>
            <a:off x="10695878" y="6305447"/>
            <a:ext cx="1384998" cy="409678"/>
          </a:xfrm>
          <a:prstGeom prst="rect">
            <a:avLst/>
          </a:prstGeom>
        </p:spPr>
      </p:pic>
    </p:spTree>
    <p:extLst>
      <p:ext uri="{BB962C8B-B14F-4D97-AF65-F5344CB8AC3E}">
        <p14:creationId xmlns:p14="http://schemas.microsoft.com/office/powerpoint/2010/main" val="40144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harts Layout">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4F6F2EB-49C1-D52F-BC82-5CB6D1A37B99}"/>
              </a:ext>
            </a:extLst>
          </p:cNvPr>
          <p:cNvGraphicFramePr>
            <a:graphicFrameLocks noChangeAspect="1"/>
          </p:cNvGraphicFramePr>
          <p:nvPr userDrawn="1">
            <p:custDataLst>
              <p:tags r:id="rId1"/>
            </p:custDataLst>
            <p:extLst>
              <p:ext uri="{D42A27DB-BD31-4B8C-83A1-F6EECF244321}">
                <p14:modId xmlns:p14="http://schemas.microsoft.com/office/powerpoint/2010/main" val="56708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27" name="Object 26" hidden="1">
                        <a:extLst>
                          <a:ext uri="{FF2B5EF4-FFF2-40B4-BE49-F238E27FC236}">
                            <a16:creationId xmlns:a16="http://schemas.microsoft.com/office/drawing/2014/main" id="{14F6F2EB-49C1-D52F-BC82-5CB6D1A37B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endParaRPr lang="en-US" dirty="0"/>
          </a:p>
        </p:txBody>
      </p:sp>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473094"/>
            <a:ext cx="5824728" cy="3227682"/>
          </a:xfrm>
        </p:spPr>
        <p:txBody>
          <a:bodyPr anchor="ctr"/>
          <a:lstStyle>
            <a:lvl1pPr marL="0" indent="0" algn="ctr">
              <a:buNone/>
              <a:defRPr>
                <a:latin typeface="+mn-lt"/>
              </a:defRPr>
            </a:lvl1pPr>
          </a:lstStyle>
          <a:p>
            <a:r>
              <a:rPr lang="en-US"/>
              <a:t>Click icon to add chart</a:t>
            </a:r>
            <a:endParaRPr lang="en-US" dirty="0"/>
          </a:p>
        </p:txBody>
      </p:sp>
      <p:sp>
        <p:nvSpPr>
          <p:cNvPr id="11" name="Chart Placeholder 6">
            <a:extLst>
              <a:ext uri="{FF2B5EF4-FFF2-40B4-BE49-F238E27FC236}">
                <a16:creationId xmlns:a16="http://schemas.microsoft.com/office/drawing/2014/main" id="{8F594133-3999-0B82-4145-66CBE4CFE693}"/>
              </a:ext>
            </a:extLst>
          </p:cNvPr>
          <p:cNvSpPr>
            <a:spLocks noGrp="1"/>
          </p:cNvSpPr>
          <p:nvPr>
            <p:ph type="chart" sz="quarter" idx="20"/>
          </p:nvPr>
        </p:nvSpPr>
        <p:spPr>
          <a:xfrm>
            <a:off x="6187886" y="2473094"/>
            <a:ext cx="5824728" cy="3227682"/>
          </a:xfrm>
        </p:spPr>
        <p:txBody>
          <a:bodyPr anchor="ctr"/>
          <a:lstStyle>
            <a:lvl1pPr marL="0" indent="0" algn="ctr">
              <a:buNone/>
              <a:defRPr>
                <a:latin typeface="+mn-lt"/>
              </a:defRPr>
            </a:lvl1pPr>
          </a:lstStyle>
          <a:p>
            <a:r>
              <a:rPr lang="en-US"/>
              <a:t>Click icon to add chart</a:t>
            </a:r>
          </a:p>
        </p:txBody>
      </p:sp>
      <p:sp>
        <p:nvSpPr>
          <p:cNvPr id="19" name="Text Placeholder 12">
            <a:extLst>
              <a:ext uri="{FF2B5EF4-FFF2-40B4-BE49-F238E27FC236}">
                <a16:creationId xmlns:a16="http://schemas.microsoft.com/office/drawing/2014/main" id="{5E62881A-EA2E-12CC-FF65-340AD913460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20" name="Text Placeholder 11">
            <a:extLst>
              <a:ext uri="{FF2B5EF4-FFF2-40B4-BE49-F238E27FC236}">
                <a16:creationId xmlns:a16="http://schemas.microsoft.com/office/drawing/2014/main" id="{6392344F-21BC-0BCE-3CC5-D8A65F3E083B}"/>
              </a:ext>
            </a:extLst>
          </p:cNvPr>
          <p:cNvSpPr>
            <a:spLocks noGrp="1"/>
          </p:cNvSpPr>
          <p:nvPr>
            <p:ph type="body" sz="quarter" idx="16" hasCustomPrompt="1"/>
          </p:nvPr>
        </p:nvSpPr>
        <p:spPr>
          <a:xfrm>
            <a:off x="179386" y="1339912"/>
            <a:ext cx="5824728"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Chart Header</a:t>
            </a:r>
          </a:p>
        </p:txBody>
      </p:sp>
      <p:cxnSp>
        <p:nvCxnSpPr>
          <p:cNvPr id="21" name="Straight Connector 20">
            <a:extLst>
              <a:ext uri="{FF2B5EF4-FFF2-40B4-BE49-F238E27FC236}">
                <a16:creationId xmlns:a16="http://schemas.microsoft.com/office/drawing/2014/main" id="{C99F721A-2062-D12F-EE59-C0F0F6EA4515}"/>
              </a:ext>
            </a:extLst>
          </p:cNvPr>
          <p:cNvCxnSpPr>
            <a:cxnSpLocks/>
          </p:cNvCxnSpPr>
          <p:nvPr userDrawn="1"/>
        </p:nvCxnSpPr>
        <p:spPr>
          <a:xfrm>
            <a:off x="179386" y="1688546"/>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1">
            <a:extLst>
              <a:ext uri="{FF2B5EF4-FFF2-40B4-BE49-F238E27FC236}">
                <a16:creationId xmlns:a16="http://schemas.microsoft.com/office/drawing/2014/main" id="{786BEA4D-42D6-FFD5-3EE4-AE9C0969B7EC}"/>
              </a:ext>
            </a:extLst>
          </p:cNvPr>
          <p:cNvSpPr>
            <a:spLocks noGrp="1"/>
          </p:cNvSpPr>
          <p:nvPr>
            <p:ph type="body" sz="quarter" idx="17" hasCustomPrompt="1"/>
          </p:nvPr>
        </p:nvSpPr>
        <p:spPr>
          <a:xfrm>
            <a:off x="179386" y="1801637"/>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Axis titles: left aligned; same font size as axis labels; specifies precisely the data shown on chart; unit, year shown in parentheses on separate line if axis title is long (e.g., $M, 2020)</a:t>
            </a:r>
          </a:p>
        </p:txBody>
      </p:sp>
      <p:sp>
        <p:nvSpPr>
          <p:cNvPr id="23" name="Text Placeholder 11">
            <a:extLst>
              <a:ext uri="{FF2B5EF4-FFF2-40B4-BE49-F238E27FC236}">
                <a16:creationId xmlns:a16="http://schemas.microsoft.com/office/drawing/2014/main" id="{188C078D-DFC0-387F-5F91-7EA9BA0D6C3F}"/>
              </a:ext>
            </a:extLst>
          </p:cNvPr>
          <p:cNvSpPr>
            <a:spLocks noGrp="1"/>
          </p:cNvSpPr>
          <p:nvPr>
            <p:ph type="body" sz="quarter" idx="21" hasCustomPrompt="1"/>
          </p:nvPr>
        </p:nvSpPr>
        <p:spPr>
          <a:xfrm>
            <a:off x="6187886" y="1339912"/>
            <a:ext cx="5824728" cy="303369"/>
          </a:xfrm>
        </p:spPr>
        <p:txBody>
          <a:bodyPr anchor="b">
            <a:normAutofit/>
          </a:bodyPr>
          <a:lstStyle>
            <a:lvl1pPr marL="0" indent="0">
              <a:lnSpc>
                <a:spcPct val="100000"/>
              </a:lnSpc>
              <a:spcBef>
                <a:spcPts val="0"/>
              </a:spcBef>
              <a:buNone/>
              <a:defRPr sz="1200" b="1">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Chart Header</a:t>
            </a:r>
          </a:p>
        </p:txBody>
      </p:sp>
      <p:cxnSp>
        <p:nvCxnSpPr>
          <p:cNvPr id="24" name="Straight Connector 23">
            <a:extLst>
              <a:ext uri="{FF2B5EF4-FFF2-40B4-BE49-F238E27FC236}">
                <a16:creationId xmlns:a16="http://schemas.microsoft.com/office/drawing/2014/main" id="{1BA7F4B0-B29F-700A-9CE0-6634C51E1536}"/>
              </a:ext>
            </a:extLst>
          </p:cNvPr>
          <p:cNvCxnSpPr>
            <a:cxnSpLocks/>
          </p:cNvCxnSpPr>
          <p:nvPr userDrawn="1"/>
        </p:nvCxnSpPr>
        <p:spPr>
          <a:xfrm>
            <a:off x="6187886" y="1688546"/>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11">
            <a:extLst>
              <a:ext uri="{FF2B5EF4-FFF2-40B4-BE49-F238E27FC236}">
                <a16:creationId xmlns:a16="http://schemas.microsoft.com/office/drawing/2014/main" id="{566CED9A-8C3D-8012-1F8F-9217C6474785}"/>
              </a:ext>
            </a:extLst>
          </p:cNvPr>
          <p:cNvSpPr>
            <a:spLocks noGrp="1"/>
          </p:cNvSpPr>
          <p:nvPr>
            <p:ph type="body" sz="quarter" idx="22" hasCustomPrompt="1"/>
          </p:nvPr>
        </p:nvSpPr>
        <p:spPr>
          <a:xfrm>
            <a:off x="6187886" y="1801637"/>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Axis titles: left aligned; same font size as axis labels; specifies precisely the data shown on chart; unit, year shown in parentheses on separate line if axis title is long (e.g., $M, 2020)</a:t>
            </a:r>
          </a:p>
        </p:txBody>
      </p:sp>
      <p:sp>
        <p:nvSpPr>
          <p:cNvPr id="4" name="Footer Placeholder 3">
            <a:extLst>
              <a:ext uri="{FF2B5EF4-FFF2-40B4-BE49-F238E27FC236}">
                <a16:creationId xmlns:a16="http://schemas.microsoft.com/office/drawing/2014/main" id="{C2C58CC7-E374-CD71-2764-DEE0EE634C80}"/>
              </a:ext>
            </a:extLst>
          </p:cNvPr>
          <p:cNvSpPr>
            <a:spLocks noGrp="1"/>
          </p:cNvSpPr>
          <p:nvPr>
            <p:ph type="ftr" sz="quarter" idx="23"/>
          </p:nvPr>
        </p:nvSpPr>
        <p:spPr/>
        <p:txBody>
          <a:bodyPr/>
          <a:lstStyle>
            <a:lvl1pPr>
              <a:defRPr sz="900"/>
            </a:lvl1pPr>
          </a:lstStyle>
          <a:p>
            <a:endParaRPr lang="en-GB" dirty="0"/>
          </a:p>
        </p:txBody>
      </p:sp>
      <p:sp>
        <p:nvSpPr>
          <p:cNvPr id="5" name="Slide Number Placeholder 4">
            <a:extLst>
              <a:ext uri="{FF2B5EF4-FFF2-40B4-BE49-F238E27FC236}">
                <a16:creationId xmlns:a16="http://schemas.microsoft.com/office/drawing/2014/main" id="{83E36271-F715-1A84-DCD5-0DD7840605C7}"/>
              </a:ext>
            </a:extLst>
          </p:cNvPr>
          <p:cNvSpPr>
            <a:spLocks noGrp="1"/>
          </p:cNvSpPr>
          <p:nvPr>
            <p:ph type="sldNum" sz="quarter" idx="24"/>
          </p:nvPr>
        </p:nvSpPr>
        <p:spPr/>
        <p:txBody>
          <a:bodyPr/>
          <a:lstStyle>
            <a:lvl1pPr>
              <a:defRPr sz="900"/>
            </a:lvl1pPr>
          </a:lstStyle>
          <a:p>
            <a:fld id="{DDF71BC8-773F-4A54-968E-450E29C75AD4}" type="slidenum">
              <a:rPr lang="en-GB" smtClean="0"/>
              <a:pPr/>
              <a:t>‹#›</a:t>
            </a:fld>
            <a:endParaRPr lang="en-GB" dirty="0"/>
          </a:p>
        </p:txBody>
      </p:sp>
      <p:sp>
        <p:nvSpPr>
          <p:cNvPr id="8" name="Text Placeholder 8">
            <a:extLst>
              <a:ext uri="{FF2B5EF4-FFF2-40B4-BE49-F238E27FC236}">
                <a16:creationId xmlns:a16="http://schemas.microsoft.com/office/drawing/2014/main" id="{AB227B3C-9F2E-953F-337C-BA555263CA1C}"/>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3159095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harts Layout with no Header">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5E7B498-3187-5409-B9EB-11BFD368628D}"/>
              </a:ext>
            </a:extLst>
          </p:cNvPr>
          <p:cNvGraphicFramePr>
            <a:graphicFrameLocks noChangeAspect="1"/>
          </p:cNvGraphicFramePr>
          <p:nvPr userDrawn="1">
            <p:custDataLst>
              <p:tags r:id="rId1"/>
            </p:custDataLst>
            <p:extLst>
              <p:ext uri="{D42A27DB-BD31-4B8C-83A1-F6EECF244321}">
                <p14:modId xmlns:p14="http://schemas.microsoft.com/office/powerpoint/2010/main" val="150932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19" name="Object 18" hidden="1">
                        <a:extLst>
                          <a:ext uri="{FF2B5EF4-FFF2-40B4-BE49-F238E27FC236}">
                            <a16:creationId xmlns:a16="http://schemas.microsoft.com/office/drawing/2014/main" id="{E5E7B498-3187-5409-B9EB-11BFD36862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D7B314-D945-1DE7-1A24-F019781FE5DA}"/>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endParaRPr lang="en-US" dirty="0"/>
          </a:p>
        </p:txBody>
      </p:sp>
      <p:sp>
        <p:nvSpPr>
          <p:cNvPr id="7" name="Chart Placeholder 6">
            <a:extLst>
              <a:ext uri="{FF2B5EF4-FFF2-40B4-BE49-F238E27FC236}">
                <a16:creationId xmlns:a16="http://schemas.microsoft.com/office/drawing/2014/main" id="{2E923E0E-949B-145E-D874-7C67CCC76398}"/>
              </a:ext>
            </a:extLst>
          </p:cNvPr>
          <p:cNvSpPr>
            <a:spLocks noGrp="1"/>
          </p:cNvSpPr>
          <p:nvPr>
            <p:ph type="chart" sz="quarter" idx="15"/>
          </p:nvPr>
        </p:nvSpPr>
        <p:spPr>
          <a:xfrm>
            <a:off x="179388" y="2080700"/>
            <a:ext cx="5824728" cy="3620076"/>
          </a:xfrm>
        </p:spPr>
        <p:txBody>
          <a:bodyPr anchor="ctr"/>
          <a:lstStyle>
            <a:lvl1pPr marL="0" indent="0" algn="ctr">
              <a:buNone/>
              <a:defRPr>
                <a:latin typeface="+mn-lt"/>
              </a:defRPr>
            </a:lvl1pPr>
          </a:lstStyle>
          <a:p>
            <a:r>
              <a:rPr lang="en-US"/>
              <a:t>Click icon to add chart</a:t>
            </a:r>
          </a:p>
        </p:txBody>
      </p:sp>
      <p:sp>
        <p:nvSpPr>
          <p:cNvPr id="11" name="Chart Placeholder 6">
            <a:extLst>
              <a:ext uri="{FF2B5EF4-FFF2-40B4-BE49-F238E27FC236}">
                <a16:creationId xmlns:a16="http://schemas.microsoft.com/office/drawing/2014/main" id="{8F594133-3999-0B82-4145-66CBE4CFE693}"/>
              </a:ext>
            </a:extLst>
          </p:cNvPr>
          <p:cNvSpPr>
            <a:spLocks noGrp="1"/>
          </p:cNvSpPr>
          <p:nvPr>
            <p:ph type="chart" sz="quarter" idx="20"/>
          </p:nvPr>
        </p:nvSpPr>
        <p:spPr>
          <a:xfrm>
            <a:off x="6187886" y="2080700"/>
            <a:ext cx="5824728" cy="3620076"/>
          </a:xfrm>
        </p:spPr>
        <p:txBody>
          <a:bodyPr anchor="ctr"/>
          <a:lstStyle>
            <a:lvl1pPr marL="0" indent="0" algn="ctr">
              <a:buNone/>
              <a:defRPr>
                <a:latin typeface="+mn-lt"/>
              </a:defRPr>
            </a:lvl1pPr>
          </a:lstStyle>
          <a:p>
            <a:r>
              <a:rPr lang="en-US"/>
              <a:t>Click icon to add chart</a:t>
            </a:r>
          </a:p>
        </p:txBody>
      </p:sp>
      <p:sp>
        <p:nvSpPr>
          <p:cNvPr id="14" name="Text Placeholder 12">
            <a:extLst>
              <a:ext uri="{FF2B5EF4-FFF2-40B4-BE49-F238E27FC236}">
                <a16:creationId xmlns:a16="http://schemas.microsoft.com/office/drawing/2014/main" id="{E6D90DA2-5E3A-F5F1-5566-AC363C828797}"/>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15" name="Text Placeholder 11">
            <a:extLst>
              <a:ext uri="{FF2B5EF4-FFF2-40B4-BE49-F238E27FC236}">
                <a16:creationId xmlns:a16="http://schemas.microsoft.com/office/drawing/2014/main" id="{BC0D0A4C-0121-0EB3-DCFC-386B5C958A8C}"/>
              </a:ext>
            </a:extLst>
          </p:cNvPr>
          <p:cNvSpPr>
            <a:spLocks noGrp="1"/>
          </p:cNvSpPr>
          <p:nvPr>
            <p:ph type="body" sz="quarter" idx="17" hasCustomPrompt="1"/>
          </p:nvPr>
        </p:nvSpPr>
        <p:spPr>
          <a:xfrm>
            <a:off x="179386" y="1339912"/>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dirty="0"/>
              <a:t>Axis titles: left aligned; same font size as axis labels; specifies precisely the data shown on chart; unit, year shown in parentheses on separate line if axis title is long (e.g., $M, 2020)</a:t>
            </a:r>
          </a:p>
        </p:txBody>
      </p:sp>
      <p:sp>
        <p:nvSpPr>
          <p:cNvPr id="17" name="Text Placeholder 11">
            <a:extLst>
              <a:ext uri="{FF2B5EF4-FFF2-40B4-BE49-F238E27FC236}">
                <a16:creationId xmlns:a16="http://schemas.microsoft.com/office/drawing/2014/main" id="{EA4BC449-9CB6-D505-CB2E-3EFF378B8829}"/>
              </a:ext>
            </a:extLst>
          </p:cNvPr>
          <p:cNvSpPr>
            <a:spLocks noGrp="1"/>
          </p:cNvSpPr>
          <p:nvPr>
            <p:ph type="body" sz="quarter" idx="22" hasCustomPrompt="1"/>
          </p:nvPr>
        </p:nvSpPr>
        <p:spPr>
          <a:xfrm>
            <a:off x="6187886" y="1339912"/>
            <a:ext cx="5824728" cy="548640"/>
          </a:xfrm>
        </p:spPr>
        <p:txBody>
          <a:bodyPr anchor="t">
            <a:noAutofit/>
          </a:bodyPr>
          <a:lstStyle>
            <a:lvl1pPr marL="0" indent="0">
              <a:lnSpc>
                <a:spcPct val="100000"/>
              </a:lnSpc>
              <a:spcBef>
                <a:spcPts val="0"/>
              </a:spcBef>
              <a:buNone/>
              <a:defRPr sz="1200" b="0">
                <a:solidFill>
                  <a:schemeClr val="tx1"/>
                </a:solidFill>
                <a:latin typeface="+mn-lt"/>
                <a:sym typeface="Source Sans Pro" panose="020B0503030403020204" pitchFamily="34" charset="0"/>
              </a:defRPr>
            </a:lvl1pPr>
            <a:lvl2pPr marL="180000" indent="0">
              <a:buNone/>
              <a:defRPr/>
            </a:lvl2pPr>
            <a:lvl3pPr marL="360000" indent="0">
              <a:buNone/>
              <a:defRPr/>
            </a:lvl3pPr>
            <a:lvl4pPr marL="540000" indent="0">
              <a:buNone/>
              <a:defRPr/>
            </a:lvl4pPr>
            <a:lvl5pPr marL="720000" indent="0">
              <a:buNone/>
              <a:defRPr/>
            </a:lvl5pPr>
          </a:lstStyle>
          <a:p>
            <a:pPr lvl="0"/>
            <a:r>
              <a:rPr lang="en-US"/>
              <a:t>Axis titles: left aligned; same font size as axis labels; specifies precisely the data shown on chart; unit, year shown in parentheses on separate line if axis title is long (e.g., $M, 2020)</a:t>
            </a:r>
          </a:p>
        </p:txBody>
      </p:sp>
      <p:cxnSp>
        <p:nvCxnSpPr>
          <p:cNvPr id="20" name="Straight Connector 19">
            <a:extLst>
              <a:ext uri="{FF2B5EF4-FFF2-40B4-BE49-F238E27FC236}">
                <a16:creationId xmlns:a16="http://schemas.microsoft.com/office/drawing/2014/main" id="{E2B76E28-FC38-1965-9F4A-A28BE41A8662}"/>
              </a:ext>
            </a:extLst>
          </p:cNvPr>
          <p:cNvCxnSpPr>
            <a:cxnSpLocks/>
          </p:cNvCxnSpPr>
          <p:nvPr userDrawn="1"/>
        </p:nvCxnSpPr>
        <p:spPr>
          <a:xfrm>
            <a:off x="179386" y="1942273"/>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B1B6B5A-7354-6A53-A138-80BA68ED7115}"/>
              </a:ext>
            </a:extLst>
          </p:cNvPr>
          <p:cNvCxnSpPr>
            <a:cxnSpLocks/>
          </p:cNvCxnSpPr>
          <p:nvPr userDrawn="1"/>
        </p:nvCxnSpPr>
        <p:spPr>
          <a:xfrm>
            <a:off x="6187886" y="1942273"/>
            <a:ext cx="582472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EA6EC501-9D4C-F3D3-662F-733D4513DF9F}"/>
              </a:ext>
            </a:extLst>
          </p:cNvPr>
          <p:cNvSpPr>
            <a:spLocks noGrp="1"/>
          </p:cNvSpPr>
          <p:nvPr>
            <p:ph type="ftr" sz="quarter" idx="23"/>
          </p:nvPr>
        </p:nvSpPr>
        <p:spPr/>
        <p:txBody>
          <a:bodyPr/>
          <a:lstStyle>
            <a:lvl1pPr>
              <a:defRPr sz="900"/>
            </a:lvl1pPr>
          </a:lstStyle>
          <a:p>
            <a:endParaRPr lang="en-GB" dirty="0"/>
          </a:p>
        </p:txBody>
      </p:sp>
      <p:sp>
        <p:nvSpPr>
          <p:cNvPr id="5" name="Slide Number Placeholder 4">
            <a:extLst>
              <a:ext uri="{FF2B5EF4-FFF2-40B4-BE49-F238E27FC236}">
                <a16:creationId xmlns:a16="http://schemas.microsoft.com/office/drawing/2014/main" id="{F2F2DA2A-E6FB-008F-28CF-1B86BC494C23}"/>
              </a:ext>
            </a:extLst>
          </p:cNvPr>
          <p:cNvSpPr>
            <a:spLocks noGrp="1"/>
          </p:cNvSpPr>
          <p:nvPr>
            <p:ph type="sldNum" sz="quarter" idx="24"/>
          </p:nvPr>
        </p:nvSpPr>
        <p:spPr/>
        <p:txBody>
          <a:bodyPr/>
          <a:lstStyle>
            <a:lvl1pPr>
              <a:defRPr sz="900"/>
            </a:lvl1pPr>
          </a:lstStyle>
          <a:p>
            <a:fld id="{DDF71BC8-773F-4A54-968E-450E29C75AD4}" type="slidenum">
              <a:rPr lang="en-GB" smtClean="0"/>
              <a:pPr/>
              <a:t>‹#›</a:t>
            </a:fld>
            <a:endParaRPr lang="en-GB" dirty="0"/>
          </a:p>
        </p:txBody>
      </p:sp>
      <p:sp>
        <p:nvSpPr>
          <p:cNvPr id="8" name="Text Placeholder 8">
            <a:extLst>
              <a:ext uri="{FF2B5EF4-FFF2-40B4-BE49-F238E27FC236}">
                <a16:creationId xmlns:a16="http://schemas.microsoft.com/office/drawing/2014/main" id="{24124BD2-51AF-34C5-7484-E928FF9476F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1412295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Right visual exhibi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92E9254-622E-41C6-B3D0-27C816BBF106}"/>
              </a:ext>
            </a:extLst>
          </p:cNvPr>
          <p:cNvSpPr>
            <a:spLocks noGrp="1"/>
          </p:cNvSpPr>
          <p:nvPr>
            <p:ph sz="half" idx="2" hasCustomPrompt="1"/>
          </p:nvPr>
        </p:nvSpPr>
        <p:spPr>
          <a:xfrm>
            <a:off x="6187886" y="1320800"/>
            <a:ext cx="5824728" cy="4379976"/>
          </a:xfrm>
        </p:spPr>
        <p:txBody>
          <a:bodyPr anchor="ctr"/>
          <a:lstStyle>
            <a:lvl1pPr marL="0" indent="0" algn="ctr">
              <a:buNone/>
              <a:defRPr>
                <a:latin typeface="+mn-lt"/>
                <a:sym typeface="Source Sans Pro" panose="020B0503030403020204" pitchFamily="34" charset="0"/>
              </a:defRPr>
            </a:lvl1pPr>
          </a:lstStyle>
          <a:p>
            <a:pPr lvl="0"/>
            <a:r>
              <a:rPr lang="en-GB" noProof="0" dirty="0"/>
              <a:t>To add Visual click on any of the icons below</a:t>
            </a:r>
          </a:p>
        </p:txBody>
      </p:sp>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337612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5" name="Title 4">
            <a:extLst>
              <a:ext uri="{FF2B5EF4-FFF2-40B4-BE49-F238E27FC236}">
                <a16:creationId xmlns:a16="http://schemas.microsoft.com/office/drawing/2014/main" id="{281BB642-A1D1-0BF6-70A5-19B9B01D5A23}"/>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60FBC440-762A-6185-73DA-25280AE43AE4}"/>
              </a:ext>
            </a:extLst>
          </p:cNvPr>
          <p:cNvSpPr>
            <a:spLocks noGrp="1"/>
          </p:cNvSpPr>
          <p:nvPr>
            <p:ph type="body" sz="quarter" idx="15"/>
          </p:nvPr>
        </p:nvSpPr>
        <p:spPr>
          <a:xfrm>
            <a:off x="179387" y="1320800"/>
            <a:ext cx="5824728" cy="4379976"/>
          </a:xfrm>
        </p:spPr>
        <p:txBody>
          <a:bodyPr>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2">
            <a:extLst>
              <a:ext uri="{FF2B5EF4-FFF2-40B4-BE49-F238E27FC236}">
                <a16:creationId xmlns:a16="http://schemas.microsoft.com/office/drawing/2014/main" id="{D8EA51BE-FA53-45E5-9192-E8FD1E052C08}"/>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3" name="Footer Placeholder 2">
            <a:extLst>
              <a:ext uri="{FF2B5EF4-FFF2-40B4-BE49-F238E27FC236}">
                <a16:creationId xmlns:a16="http://schemas.microsoft.com/office/drawing/2014/main" id="{25BFAAA1-7E5E-72BD-2A03-EB2302643FBB}"/>
              </a:ext>
            </a:extLst>
          </p:cNvPr>
          <p:cNvSpPr>
            <a:spLocks noGrp="1"/>
          </p:cNvSpPr>
          <p:nvPr>
            <p:ph type="ftr" sz="quarter" idx="16"/>
          </p:nvPr>
        </p:nvSpPr>
        <p:spPr/>
        <p:txBody>
          <a:bodyPr/>
          <a:lstStyle>
            <a:lvl1pPr>
              <a:defRPr sz="900"/>
            </a:lvl1pPr>
          </a:lstStyle>
          <a:p>
            <a:endParaRPr lang="en-GB" dirty="0"/>
          </a:p>
        </p:txBody>
      </p:sp>
      <p:sp>
        <p:nvSpPr>
          <p:cNvPr id="6" name="Slide Number Placeholder 5">
            <a:extLst>
              <a:ext uri="{FF2B5EF4-FFF2-40B4-BE49-F238E27FC236}">
                <a16:creationId xmlns:a16="http://schemas.microsoft.com/office/drawing/2014/main" id="{D17FE375-A4A5-F990-7C8A-5C70320CA97E}"/>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dirty="0"/>
          </a:p>
        </p:txBody>
      </p:sp>
      <p:sp>
        <p:nvSpPr>
          <p:cNvPr id="10" name="Text Placeholder 8">
            <a:extLst>
              <a:ext uri="{FF2B5EF4-FFF2-40B4-BE49-F238E27FC236}">
                <a16:creationId xmlns:a16="http://schemas.microsoft.com/office/drawing/2014/main" id="{EB282826-BC50-B10C-6E31-539786D88DE9}"/>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153997737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Left  visual exhibi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139417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hasCustomPrompt="1"/>
          </p:nvPr>
        </p:nvSpPr>
        <p:spPr>
          <a:xfrm>
            <a:off x="179387" y="1320800"/>
            <a:ext cx="5824728" cy="4379976"/>
          </a:xfrm>
        </p:spPr>
        <p:txBody>
          <a:bodyPr anchor="ctr"/>
          <a:lstStyle>
            <a:lvl1pPr marL="0" indent="0" algn="ctr">
              <a:buNone/>
              <a:defRPr>
                <a:latin typeface="+mn-lt"/>
                <a:sym typeface="Source Sans Pro" panose="020B0503030403020204" pitchFamily="34" charset="0"/>
              </a:defRPr>
            </a:lvl1pPr>
          </a:lstStyle>
          <a:p>
            <a:pPr lvl="0"/>
            <a:r>
              <a:rPr lang="en-GB" noProof="0"/>
              <a:t>To add Visual click on any of the icons below</a:t>
            </a:r>
          </a:p>
        </p:txBody>
      </p:sp>
      <p:sp>
        <p:nvSpPr>
          <p:cNvPr id="5" name="Title 4">
            <a:extLst>
              <a:ext uri="{FF2B5EF4-FFF2-40B4-BE49-F238E27FC236}">
                <a16:creationId xmlns:a16="http://schemas.microsoft.com/office/drawing/2014/main" id="{281BB642-A1D1-0BF6-70A5-19B9B01D5A23}"/>
              </a:ext>
            </a:extLst>
          </p:cNvPr>
          <p:cNvSpPr>
            <a:spLocks noGrp="1"/>
          </p:cNvSpPr>
          <p:nvPr>
            <p:ph type="title"/>
          </p:nvPr>
        </p:nvSpPr>
        <p:spPr>
          <a:xfrm>
            <a:off x="179386" y="179388"/>
            <a:ext cx="11833228"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11" name="Text Placeholder 10">
            <a:extLst>
              <a:ext uri="{FF2B5EF4-FFF2-40B4-BE49-F238E27FC236}">
                <a16:creationId xmlns:a16="http://schemas.microsoft.com/office/drawing/2014/main" id="{60FBC440-762A-6185-73DA-25280AE43AE4}"/>
              </a:ext>
            </a:extLst>
          </p:cNvPr>
          <p:cNvSpPr>
            <a:spLocks noGrp="1"/>
          </p:cNvSpPr>
          <p:nvPr>
            <p:ph type="body" sz="quarter" idx="15"/>
          </p:nvPr>
        </p:nvSpPr>
        <p:spPr>
          <a:xfrm>
            <a:off x="6187886" y="1320800"/>
            <a:ext cx="5824728" cy="4379976"/>
          </a:xfrm>
        </p:spPr>
        <p:txBody>
          <a:bodyPr>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2">
            <a:extLst>
              <a:ext uri="{FF2B5EF4-FFF2-40B4-BE49-F238E27FC236}">
                <a16:creationId xmlns:a16="http://schemas.microsoft.com/office/drawing/2014/main" id="{51F1277C-0864-8D35-1A4A-0DF2211716E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2" name="Footer Placeholder 1">
            <a:extLst>
              <a:ext uri="{FF2B5EF4-FFF2-40B4-BE49-F238E27FC236}">
                <a16:creationId xmlns:a16="http://schemas.microsoft.com/office/drawing/2014/main" id="{DC677740-3CDF-ED53-E1C2-B4AFC05BA036}"/>
              </a:ext>
            </a:extLst>
          </p:cNvPr>
          <p:cNvSpPr>
            <a:spLocks noGrp="1"/>
          </p:cNvSpPr>
          <p:nvPr>
            <p:ph type="ftr" sz="quarter" idx="16"/>
          </p:nvPr>
        </p:nvSpPr>
        <p:spPr/>
        <p:txBody>
          <a:bodyPr/>
          <a:lstStyle>
            <a:lvl1pPr>
              <a:defRPr sz="900"/>
            </a:lvl1pPr>
          </a:lstStyle>
          <a:p>
            <a:endParaRPr lang="en-GB" dirty="0"/>
          </a:p>
        </p:txBody>
      </p:sp>
      <p:sp>
        <p:nvSpPr>
          <p:cNvPr id="7" name="Slide Number Placeholder 6">
            <a:extLst>
              <a:ext uri="{FF2B5EF4-FFF2-40B4-BE49-F238E27FC236}">
                <a16:creationId xmlns:a16="http://schemas.microsoft.com/office/drawing/2014/main" id="{ACC5F6F0-258D-C701-BBDC-1F63922AF126}"/>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dirty="0"/>
          </a:p>
        </p:txBody>
      </p:sp>
      <p:sp>
        <p:nvSpPr>
          <p:cNvPr id="10" name="Text Placeholder 8">
            <a:extLst>
              <a:ext uri="{FF2B5EF4-FFF2-40B4-BE49-F238E27FC236}">
                <a16:creationId xmlns:a16="http://schemas.microsoft.com/office/drawing/2014/main" id="{F7CAD48E-D288-391E-72A3-655609A4C127}"/>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423575204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 Text with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946124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7"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7" name="Title 6">
            <a:extLst>
              <a:ext uri="{FF2B5EF4-FFF2-40B4-BE49-F238E27FC236}">
                <a16:creationId xmlns:a16="http://schemas.microsoft.com/office/drawing/2014/main" id="{AE9C1BD9-E21D-2C4B-BF47-CC26ADC80BDC}"/>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a:t>Click to edit Master title style</a:t>
            </a:r>
          </a:p>
        </p:txBody>
      </p:sp>
      <p:sp>
        <p:nvSpPr>
          <p:cNvPr id="21" name="Content Placeholder 5">
            <a:extLst>
              <a:ext uri="{FF2B5EF4-FFF2-40B4-BE49-F238E27FC236}">
                <a16:creationId xmlns:a16="http://schemas.microsoft.com/office/drawing/2014/main" id="{FBAA772A-E969-6C25-B785-5343E8E141D9}"/>
              </a:ext>
            </a:extLst>
          </p:cNvPr>
          <p:cNvSpPr>
            <a:spLocks noGrp="1"/>
          </p:cNvSpPr>
          <p:nvPr>
            <p:ph sz="quarter" idx="16"/>
          </p:nvPr>
        </p:nvSpPr>
        <p:spPr>
          <a:xfrm>
            <a:off x="8261986" y="1833836"/>
            <a:ext cx="3749040" cy="3866938"/>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9" name="Text Placeholder 2">
            <a:extLst>
              <a:ext uri="{FF2B5EF4-FFF2-40B4-BE49-F238E27FC236}">
                <a16:creationId xmlns:a16="http://schemas.microsoft.com/office/drawing/2014/main" id="{B067C27F-D70D-425D-E613-A18BC54EDD2E}"/>
              </a:ext>
            </a:extLst>
          </p:cNvPr>
          <p:cNvSpPr>
            <a:spLocks noGrp="1"/>
          </p:cNvSpPr>
          <p:nvPr>
            <p:ph type="body" idx="1"/>
          </p:nvPr>
        </p:nvSpPr>
        <p:spPr>
          <a:xfrm>
            <a:off x="179388"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4" name="Text Placeholder 4">
            <a:extLst>
              <a:ext uri="{FF2B5EF4-FFF2-40B4-BE49-F238E27FC236}">
                <a16:creationId xmlns:a16="http://schemas.microsoft.com/office/drawing/2014/main" id="{1BBE6E0B-BEB5-04C5-EEB0-DB9A053833BB}"/>
              </a:ext>
            </a:extLst>
          </p:cNvPr>
          <p:cNvSpPr>
            <a:spLocks noGrp="1"/>
          </p:cNvSpPr>
          <p:nvPr>
            <p:ph type="body" sz="quarter" idx="3"/>
          </p:nvPr>
        </p:nvSpPr>
        <p:spPr>
          <a:xfrm>
            <a:off x="4220687"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5" name="Text Placeholder 12">
            <a:extLst>
              <a:ext uri="{FF2B5EF4-FFF2-40B4-BE49-F238E27FC236}">
                <a16:creationId xmlns:a16="http://schemas.microsoft.com/office/drawing/2014/main" id="{A1E5C7E4-6509-DFA4-3F29-1048FF94A33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cxnSp>
        <p:nvCxnSpPr>
          <p:cNvPr id="26" name="Straight Connector 25">
            <a:extLst>
              <a:ext uri="{FF2B5EF4-FFF2-40B4-BE49-F238E27FC236}">
                <a16:creationId xmlns:a16="http://schemas.microsoft.com/office/drawing/2014/main" id="{C55D7950-1695-1ACC-A493-CA4ADEA3EF0F}"/>
              </a:ext>
            </a:extLst>
          </p:cNvPr>
          <p:cNvCxnSpPr>
            <a:cxnSpLocks/>
          </p:cNvCxnSpPr>
          <p:nvPr userDrawn="1"/>
        </p:nvCxnSpPr>
        <p:spPr>
          <a:xfrm>
            <a:off x="1793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7290DD-E4AE-1CB2-D505-E5959B735B0B}"/>
              </a:ext>
            </a:extLst>
          </p:cNvPr>
          <p:cNvCxnSpPr>
            <a:cxnSpLocks/>
          </p:cNvCxnSpPr>
          <p:nvPr userDrawn="1"/>
        </p:nvCxnSpPr>
        <p:spPr>
          <a:xfrm>
            <a:off x="4220687"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426A5F5C-133E-001B-D942-0BFAA906F233}"/>
              </a:ext>
            </a:extLst>
          </p:cNvPr>
          <p:cNvSpPr>
            <a:spLocks noGrp="1"/>
          </p:cNvSpPr>
          <p:nvPr>
            <p:ph type="body" sz="quarter" idx="15"/>
          </p:nvPr>
        </p:nvSpPr>
        <p:spPr>
          <a:xfrm>
            <a:off x="8261986"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29" name="Straight Connector 28">
            <a:extLst>
              <a:ext uri="{FF2B5EF4-FFF2-40B4-BE49-F238E27FC236}">
                <a16:creationId xmlns:a16="http://schemas.microsoft.com/office/drawing/2014/main" id="{9D11C572-2562-283A-1D38-11C380CF7B5E}"/>
              </a:ext>
            </a:extLst>
          </p:cNvPr>
          <p:cNvCxnSpPr>
            <a:cxnSpLocks/>
          </p:cNvCxnSpPr>
          <p:nvPr userDrawn="1"/>
        </p:nvCxnSpPr>
        <p:spPr>
          <a:xfrm>
            <a:off x="82619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93C462AC-39CA-378B-4E77-82D887EA288B}"/>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5" name="Footer Placeholder 4">
            <a:extLst>
              <a:ext uri="{FF2B5EF4-FFF2-40B4-BE49-F238E27FC236}">
                <a16:creationId xmlns:a16="http://schemas.microsoft.com/office/drawing/2014/main" id="{C86D4D5A-2CD7-FE9F-E57C-2F15372E5CEC}"/>
              </a:ext>
            </a:extLst>
          </p:cNvPr>
          <p:cNvSpPr>
            <a:spLocks noGrp="1"/>
          </p:cNvSpPr>
          <p:nvPr>
            <p:ph type="ftr" sz="quarter" idx="17"/>
          </p:nvPr>
        </p:nvSpPr>
        <p:spPr/>
        <p:txBody>
          <a:bodyPr/>
          <a:lstStyle>
            <a:lvl1pPr>
              <a:defRPr sz="900"/>
            </a:lvl1pPr>
          </a:lstStyle>
          <a:p>
            <a:endParaRPr lang="en-GB" dirty="0"/>
          </a:p>
        </p:txBody>
      </p:sp>
      <p:sp>
        <p:nvSpPr>
          <p:cNvPr id="8" name="Slide Number Placeholder 7">
            <a:extLst>
              <a:ext uri="{FF2B5EF4-FFF2-40B4-BE49-F238E27FC236}">
                <a16:creationId xmlns:a16="http://schemas.microsoft.com/office/drawing/2014/main" id="{38D4DF5B-9B62-32E2-362D-0952C409378C}"/>
              </a:ext>
            </a:extLst>
          </p:cNvPr>
          <p:cNvSpPr>
            <a:spLocks noGrp="1"/>
          </p:cNvSpPr>
          <p:nvPr>
            <p:ph type="sldNum" sz="quarter" idx="18"/>
          </p:nvPr>
        </p:nvSpPr>
        <p:spPr/>
        <p:txBody>
          <a:bodyPr/>
          <a:lstStyle>
            <a:lvl1pPr>
              <a:defRPr sz="900"/>
            </a:lvl1pPr>
          </a:lstStyle>
          <a:p>
            <a:fld id="{DDF71BC8-773F-4A54-968E-450E29C75AD4}" type="slidenum">
              <a:rPr lang="en-GB" smtClean="0"/>
              <a:pPr/>
              <a:t>‹#›</a:t>
            </a:fld>
            <a:endParaRPr lang="en-GB" dirty="0"/>
          </a:p>
        </p:txBody>
      </p:sp>
    </p:spTree>
    <p:extLst>
      <p:ext uri="{BB962C8B-B14F-4D97-AF65-F5344CB8AC3E}">
        <p14:creationId xmlns:p14="http://schemas.microsoft.com/office/powerpoint/2010/main" val="209135037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Text without header Layou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181581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6"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 name="Content Placeholder 5">
            <a:extLst>
              <a:ext uri="{FF2B5EF4-FFF2-40B4-BE49-F238E27FC236}">
                <a16:creationId xmlns:a16="http://schemas.microsoft.com/office/drawing/2014/main" id="{0ADB62D9-9E48-54E0-D731-A87A653E1785}"/>
              </a:ext>
            </a:extLst>
          </p:cNvPr>
          <p:cNvSpPr>
            <a:spLocks noGrp="1"/>
          </p:cNvSpPr>
          <p:nvPr>
            <p:ph sz="quarter" idx="15"/>
          </p:nvPr>
        </p:nvSpPr>
        <p:spPr>
          <a:xfrm>
            <a:off x="8261985" y="1320800"/>
            <a:ext cx="3749040" cy="437997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7" name="Text Placeholder 12">
            <a:extLst>
              <a:ext uri="{FF2B5EF4-FFF2-40B4-BE49-F238E27FC236}">
                <a16:creationId xmlns:a16="http://schemas.microsoft.com/office/drawing/2014/main" id="{C4BEFC57-743F-24B0-E06C-14A05EEE766D}"/>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2" name="Footer Placeholder 1">
            <a:extLst>
              <a:ext uri="{FF2B5EF4-FFF2-40B4-BE49-F238E27FC236}">
                <a16:creationId xmlns:a16="http://schemas.microsoft.com/office/drawing/2014/main" id="{600CEFF3-0E66-3103-807A-E115EE9F77F9}"/>
              </a:ext>
            </a:extLst>
          </p:cNvPr>
          <p:cNvSpPr>
            <a:spLocks noGrp="1"/>
          </p:cNvSpPr>
          <p:nvPr>
            <p:ph type="ftr" sz="quarter" idx="16"/>
          </p:nvPr>
        </p:nvSpPr>
        <p:spPr/>
        <p:txBody>
          <a:bodyPr/>
          <a:lstStyle>
            <a:lvl1pPr>
              <a:defRPr sz="900"/>
            </a:lvl1pPr>
          </a:lstStyle>
          <a:p>
            <a:endParaRPr lang="en-GB" dirty="0"/>
          </a:p>
        </p:txBody>
      </p:sp>
      <p:sp>
        <p:nvSpPr>
          <p:cNvPr id="8" name="Slide Number Placeholder 7">
            <a:extLst>
              <a:ext uri="{FF2B5EF4-FFF2-40B4-BE49-F238E27FC236}">
                <a16:creationId xmlns:a16="http://schemas.microsoft.com/office/drawing/2014/main" id="{0B66FBC8-C31A-B85D-66EC-15D75D8E53FD}"/>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0363E2B5-AE62-B05A-024B-5E2BD647B9E9}"/>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13" name="Title 12">
            <a:extLst>
              <a:ext uri="{FF2B5EF4-FFF2-40B4-BE49-F238E27FC236}">
                <a16:creationId xmlns:a16="http://schemas.microsoft.com/office/drawing/2014/main" id="{F17D492A-019F-366B-07C4-BC9D3FEDAB0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4690678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 Text with text 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24345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4220687"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1" name="Content Placeholder 5">
            <a:extLst>
              <a:ext uri="{FF2B5EF4-FFF2-40B4-BE49-F238E27FC236}">
                <a16:creationId xmlns:a16="http://schemas.microsoft.com/office/drawing/2014/main" id="{FBAA772A-E969-6C25-B785-5343E8E141D9}"/>
              </a:ext>
            </a:extLst>
          </p:cNvPr>
          <p:cNvSpPr>
            <a:spLocks noGrp="1"/>
          </p:cNvSpPr>
          <p:nvPr>
            <p:ph sz="quarter" idx="16"/>
          </p:nvPr>
        </p:nvSpPr>
        <p:spPr>
          <a:xfrm>
            <a:off x="8261986" y="1833836"/>
            <a:ext cx="3749040" cy="3008946"/>
          </a:xfrm>
        </p:spPr>
        <p:txBody>
          <a:bodyPr lIns="0" tIns="0" rIns="0" bIns="0">
            <a:normAutofit/>
          </a:bodyPr>
          <a:lstStyle>
            <a:lvl1pPr>
              <a:spcBef>
                <a:spcPts val="1200"/>
              </a:spcBef>
              <a:defRPr sz="1200">
                <a:latin typeface="+mn-lt"/>
                <a:sym typeface="Source Sans Pro" panose="020B0503030403020204" pitchFamily="34" charset="0"/>
              </a:defRPr>
            </a:lvl1pPr>
            <a:lvl2pPr marL="457200" indent="-180000">
              <a:spcBef>
                <a:spcPts val="600"/>
              </a:spcBef>
              <a:buFont typeface="Century Gothic" panose="020B0502020202020204" pitchFamily="34" charset="0"/>
              <a:buChar char="–"/>
              <a:defRPr sz="1200">
                <a:latin typeface="+mn-lt"/>
                <a:sym typeface="Source Sans Pro" panose="020B0503030403020204" pitchFamily="34" charset="0"/>
              </a:defRPr>
            </a:lvl2pPr>
            <a:lvl3pPr marL="594360" indent="-179388">
              <a:spcBef>
                <a:spcPts val="600"/>
              </a:spcBef>
              <a:buFont typeface="Century Gothic" panose="020B0502020202020204" pitchFamily="34" charset="0"/>
              <a:buChar char="–"/>
              <a:defRPr sz="1200">
                <a:latin typeface="+mn-lt"/>
                <a:sym typeface="Source Sans Pro" panose="020B0503030403020204" pitchFamily="34" charset="0"/>
              </a:defRPr>
            </a:lvl3pPr>
            <a:lvl4pPr marL="777240" indent="-180000">
              <a:spcBef>
                <a:spcPts val="600"/>
              </a:spcBef>
              <a:buFont typeface="Century Gothic" panose="020B0502020202020204" pitchFamily="34" charset="0"/>
              <a:buChar char="–"/>
              <a:defRPr sz="1200">
                <a:latin typeface="+mn-lt"/>
                <a:sym typeface="Source Sans Pro" panose="020B0503030403020204" pitchFamily="34" charset="0"/>
              </a:defRPr>
            </a:lvl4pPr>
            <a:lvl5pPr marL="914400" indent="-180000">
              <a:spcBef>
                <a:spcPts val="600"/>
              </a:spcBef>
              <a:buFont typeface="Century Gothic" panose="020B0502020202020204" pitchFamily="34" charset="0"/>
              <a:buChar char="–"/>
              <a:defRPr sz="1200">
                <a:latin typeface="+mn-lt"/>
                <a:sym typeface="Source Sans Pro" panose="020B0503030403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5" name="Text Placeholder 14">
            <a:extLst>
              <a:ext uri="{FF2B5EF4-FFF2-40B4-BE49-F238E27FC236}">
                <a16:creationId xmlns:a16="http://schemas.microsoft.com/office/drawing/2014/main" id="{951BE9CA-C050-1A1D-D52B-7CBCA5F41CAB}"/>
              </a:ext>
            </a:extLst>
          </p:cNvPr>
          <p:cNvSpPr>
            <a:spLocks noGrp="1"/>
          </p:cNvSpPr>
          <p:nvPr>
            <p:ph type="body" sz="quarter" idx="17"/>
          </p:nvPr>
        </p:nvSpPr>
        <p:spPr>
          <a:xfrm>
            <a:off x="179388"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dirty="0"/>
              <a:t>Click to edit Master text styles</a:t>
            </a:r>
          </a:p>
        </p:txBody>
      </p:sp>
      <p:sp>
        <p:nvSpPr>
          <p:cNvPr id="17" name="Text Placeholder 14">
            <a:extLst>
              <a:ext uri="{FF2B5EF4-FFF2-40B4-BE49-F238E27FC236}">
                <a16:creationId xmlns:a16="http://schemas.microsoft.com/office/drawing/2014/main" id="{1C37FF71-7A2D-6D86-ACE2-E1B0CCC3D70D}"/>
              </a:ext>
            </a:extLst>
          </p:cNvPr>
          <p:cNvSpPr>
            <a:spLocks noGrp="1"/>
          </p:cNvSpPr>
          <p:nvPr>
            <p:ph type="body" sz="quarter" idx="18"/>
          </p:nvPr>
        </p:nvSpPr>
        <p:spPr>
          <a:xfrm>
            <a:off x="4220687"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a:t>Click to edit Master text styles</a:t>
            </a:r>
          </a:p>
        </p:txBody>
      </p:sp>
      <p:sp>
        <p:nvSpPr>
          <p:cNvPr id="18" name="Text Placeholder 14">
            <a:extLst>
              <a:ext uri="{FF2B5EF4-FFF2-40B4-BE49-F238E27FC236}">
                <a16:creationId xmlns:a16="http://schemas.microsoft.com/office/drawing/2014/main" id="{3FB31D4D-D668-998B-4598-016DEFFC5BEE}"/>
              </a:ext>
            </a:extLst>
          </p:cNvPr>
          <p:cNvSpPr>
            <a:spLocks noGrp="1"/>
          </p:cNvSpPr>
          <p:nvPr>
            <p:ph type="body" sz="quarter" idx="19"/>
          </p:nvPr>
        </p:nvSpPr>
        <p:spPr>
          <a:xfrm>
            <a:off x="8261986" y="4969256"/>
            <a:ext cx="3749040" cy="731520"/>
          </a:xfrm>
          <a:solidFill>
            <a:schemeClr val="tx2"/>
          </a:solidFill>
        </p:spPr>
        <p:txBody>
          <a:bodyPr anchor="ctr"/>
          <a:lstStyle>
            <a:lvl1pPr marL="0" indent="0" algn="ctr">
              <a:spcBef>
                <a:spcPts val="0"/>
              </a:spcBef>
              <a:buNone/>
              <a:defRPr b="1">
                <a:solidFill>
                  <a:schemeClr val="bg1"/>
                </a:solidFill>
                <a:latin typeface="+mn-lt"/>
                <a:sym typeface="Source Sans Pro" panose="020B0503030403020204" pitchFamily="34" charset="0"/>
              </a:defRPr>
            </a:lvl1pPr>
            <a:lvl2pPr marL="277812" indent="0">
              <a:buNone/>
              <a:defRPr>
                <a:solidFill>
                  <a:schemeClr val="bg1"/>
                </a:solidFill>
              </a:defRPr>
            </a:lvl2pPr>
            <a:lvl3pPr marL="392112"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a:t>Click to edit Master text styles</a:t>
            </a:r>
          </a:p>
        </p:txBody>
      </p:sp>
      <p:sp>
        <p:nvSpPr>
          <p:cNvPr id="26" name="Text Placeholder 2">
            <a:extLst>
              <a:ext uri="{FF2B5EF4-FFF2-40B4-BE49-F238E27FC236}">
                <a16:creationId xmlns:a16="http://schemas.microsoft.com/office/drawing/2014/main" id="{CEE7D1B5-817C-3C91-2BEA-CEBF838402AF}"/>
              </a:ext>
            </a:extLst>
          </p:cNvPr>
          <p:cNvSpPr>
            <a:spLocks noGrp="1"/>
          </p:cNvSpPr>
          <p:nvPr>
            <p:ph type="body" idx="1"/>
          </p:nvPr>
        </p:nvSpPr>
        <p:spPr>
          <a:xfrm>
            <a:off x="179388"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7" name="Text Placeholder 4">
            <a:extLst>
              <a:ext uri="{FF2B5EF4-FFF2-40B4-BE49-F238E27FC236}">
                <a16:creationId xmlns:a16="http://schemas.microsoft.com/office/drawing/2014/main" id="{F69DB579-70DC-CF0D-467E-DA090E9F6CB9}"/>
              </a:ext>
            </a:extLst>
          </p:cNvPr>
          <p:cNvSpPr>
            <a:spLocks noGrp="1"/>
          </p:cNvSpPr>
          <p:nvPr>
            <p:ph type="body" sz="quarter" idx="3"/>
          </p:nvPr>
        </p:nvSpPr>
        <p:spPr>
          <a:xfrm>
            <a:off x="4220687"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8" name="Text Placeholder 12">
            <a:extLst>
              <a:ext uri="{FF2B5EF4-FFF2-40B4-BE49-F238E27FC236}">
                <a16:creationId xmlns:a16="http://schemas.microsoft.com/office/drawing/2014/main" id="{9AC81DA1-4E27-76F3-AC44-029091919625}"/>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cxnSp>
        <p:nvCxnSpPr>
          <p:cNvPr id="29" name="Straight Connector 28">
            <a:extLst>
              <a:ext uri="{FF2B5EF4-FFF2-40B4-BE49-F238E27FC236}">
                <a16:creationId xmlns:a16="http://schemas.microsoft.com/office/drawing/2014/main" id="{77FB3A21-269F-4421-A4FB-18C3CF251A15}"/>
              </a:ext>
            </a:extLst>
          </p:cNvPr>
          <p:cNvCxnSpPr>
            <a:cxnSpLocks/>
          </p:cNvCxnSpPr>
          <p:nvPr userDrawn="1"/>
        </p:nvCxnSpPr>
        <p:spPr>
          <a:xfrm>
            <a:off x="1793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B096995-E6BC-67E7-D665-6ADC86425D0B}"/>
              </a:ext>
            </a:extLst>
          </p:cNvPr>
          <p:cNvCxnSpPr>
            <a:cxnSpLocks/>
          </p:cNvCxnSpPr>
          <p:nvPr userDrawn="1"/>
        </p:nvCxnSpPr>
        <p:spPr>
          <a:xfrm>
            <a:off x="4220687"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 Placeholder 4">
            <a:extLst>
              <a:ext uri="{FF2B5EF4-FFF2-40B4-BE49-F238E27FC236}">
                <a16:creationId xmlns:a16="http://schemas.microsoft.com/office/drawing/2014/main" id="{CDBD7EB4-34A3-6F56-57D1-E48B5FBF66A9}"/>
              </a:ext>
            </a:extLst>
          </p:cNvPr>
          <p:cNvSpPr>
            <a:spLocks noGrp="1"/>
          </p:cNvSpPr>
          <p:nvPr>
            <p:ph type="body" sz="quarter" idx="15"/>
          </p:nvPr>
        </p:nvSpPr>
        <p:spPr>
          <a:xfrm>
            <a:off x="8261986" y="1339911"/>
            <a:ext cx="3749040" cy="338328"/>
          </a:xfrm>
        </p:spPr>
        <p:txBody>
          <a:bodyPr lIns="0" tIns="0" rIns="0" bIns="0" anchor="b">
            <a:normAutofit/>
          </a:bodyPr>
          <a:lstStyle>
            <a:lvl1pPr marL="0" indent="0">
              <a:buNone/>
              <a:defRPr sz="1200" b="1">
                <a:solidFill>
                  <a:schemeClr val="tx1"/>
                </a:solidFill>
                <a:latin typeface="+mn-lt"/>
                <a:sym typeface="Source Sans Pro" panose="020B0503030403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32" name="Straight Connector 31">
            <a:extLst>
              <a:ext uri="{FF2B5EF4-FFF2-40B4-BE49-F238E27FC236}">
                <a16:creationId xmlns:a16="http://schemas.microsoft.com/office/drawing/2014/main" id="{32B37B8D-A39D-A2A9-B089-209BA19C59B5}"/>
              </a:ext>
            </a:extLst>
          </p:cNvPr>
          <p:cNvCxnSpPr>
            <a:cxnSpLocks/>
          </p:cNvCxnSpPr>
          <p:nvPr userDrawn="1"/>
        </p:nvCxnSpPr>
        <p:spPr>
          <a:xfrm>
            <a:off x="8261986" y="1719987"/>
            <a:ext cx="374904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 Placeholder 8">
            <a:extLst>
              <a:ext uri="{FF2B5EF4-FFF2-40B4-BE49-F238E27FC236}">
                <a16:creationId xmlns:a16="http://schemas.microsoft.com/office/drawing/2014/main" id="{BD4F46C2-75C9-EA82-FFEC-850973C1A5A3}"/>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5" name="Footer Placeholder 4">
            <a:extLst>
              <a:ext uri="{FF2B5EF4-FFF2-40B4-BE49-F238E27FC236}">
                <a16:creationId xmlns:a16="http://schemas.microsoft.com/office/drawing/2014/main" id="{31B88218-4246-0303-73E3-3BE17721345F}"/>
              </a:ext>
            </a:extLst>
          </p:cNvPr>
          <p:cNvSpPr>
            <a:spLocks noGrp="1"/>
          </p:cNvSpPr>
          <p:nvPr>
            <p:ph type="ftr" sz="quarter" idx="20"/>
          </p:nvPr>
        </p:nvSpPr>
        <p:spPr/>
        <p:txBody>
          <a:bodyPr/>
          <a:lstStyle>
            <a:lvl1pPr>
              <a:defRPr sz="900"/>
            </a:lvl1pPr>
          </a:lstStyle>
          <a:p>
            <a:endParaRPr lang="en-GB" dirty="0"/>
          </a:p>
        </p:txBody>
      </p:sp>
      <p:sp>
        <p:nvSpPr>
          <p:cNvPr id="8" name="Slide Number Placeholder 7">
            <a:extLst>
              <a:ext uri="{FF2B5EF4-FFF2-40B4-BE49-F238E27FC236}">
                <a16:creationId xmlns:a16="http://schemas.microsoft.com/office/drawing/2014/main" id="{E19FF802-245C-03F6-0F6E-6B16415498E9}"/>
              </a:ext>
            </a:extLst>
          </p:cNvPr>
          <p:cNvSpPr>
            <a:spLocks noGrp="1"/>
          </p:cNvSpPr>
          <p:nvPr>
            <p:ph type="sldNum" sz="quarter" idx="21"/>
          </p:nvPr>
        </p:nvSpPr>
        <p:spPr/>
        <p:txBody>
          <a:bodyPr/>
          <a:lstStyle>
            <a:lvl1pPr>
              <a:defRPr sz="900"/>
            </a:lvl1pPr>
          </a:lstStyle>
          <a:p>
            <a:fld id="{DDF71BC8-773F-4A54-968E-450E29C75AD4}" type="slidenum">
              <a:rPr lang="en-GB" smtClean="0"/>
              <a:pPr/>
              <a:t>‹#›</a:t>
            </a:fld>
            <a:endParaRPr lang="en-GB" dirty="0"/>
          </a:p>
        </p:txBody>
      </p:sp>
      <p:sp>
        <p:nvSpPr>
          <p:cNvPr id="9" name="Title 8">
            <a:extLst>
              <a:ext uri="{FF2B5EF4-FFF2-40B4-BE49-F238E27FC236}">
                <a16:creationId xmlns:a16="http://schemas.microsoft.com/office/drawing/2014/main" id="{3EBCF1F3-BBDF-9535-423E-E8B83A5E0AF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2009823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376694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10" name="Title 9">
            <a:extLst>
              <a:ext uri="{FF2B5EF4-FFF2-40B4-BE49-F238E27FC236}">
                <a16:creationId xmlns:a16="http://schemas.microsoft.com/office/drawing/2014/main" id="{198F8681-9D16-53F1-F572-C19BF3378ACD}"/>
              </a:ext>
            </a:extLst>
          </p:cNvPr>
          <p:cNvSpPr>
            <a:spLocks noGrp="1"/>
          </p:cNvSpPr>
          <p:nvPr>
            <p:ph type="title"/>
          </p:nvPr>
        </p:nvSpPr>
        <p:spPr>
          <a:xfrm>
            <a:off x="179387" y="179388"/>
            <a:ext cx="11831639" cy="640080"/>
          </a:xfrm>
        </p:spPr>
        <p:txBody>
          <a:bodyPr vert="horz"/>
          <a:lstStyle>
            <a:lvl1pPr>
              <a:defRPr>
                <a:latin typeface="+mj-lt"/>
                <a:sym typeface="Source Sans Pro" panose="020B0503030403020204" pitchFamily="34" charset="0"/>
              </a:defRPr>
            </a:lvl1pPr>
          </a:lstStyle>
          <a:p>
            <a:r>
              <a:rPr lang="en-US" dirty="0"/>
              <a:t>Click to edit Master title style</a:t>
            </a:r>
          </a:p>
        </p:txBody>
      </p:sp>
      <p:sp>
        <p:nvSpPr>
          <p:cNvPr id="9" name="Table Placeholder 8">
            <a:extLst>
              <a:ext uri="{FF2B5EF4-FFF2-40B4-BE49-F238E27FC236}">
                <a16:creationId xmlns:a16="http://schemas.microsoft.com/office/drawing/2014/main" id="{A440F506-F6FA-A1C5-22E8-B52B1770B045}"/>
              </a:ext>
            </a:extLst>
          </p:cNvPr>
          <p:cNvSpPr>
            <a:spLocks noGrp="1"/>
          </p:cNvSpPr>
          <p:nvPr>
            <p:ph type="tbl" sz="quarter" idx="15"/>
          </p:nvPr>
        </p:nvSpPr>
        <p:spPr>
          <a:xfrm>
            <a:off x="179387" y="1320800"/>
            <a:ext cx="11832336" cy="4379976"/>
          </a:xfrm>
        </p:spPr>
        <p:txBody>
          <a:bodyPr/>
          <a:lstStyle>
            <a:lvl1pPr marL="0" indent="0" algn="ctr">
              <a:buFontTx/>
              <a:buNone/>
              <a:defRPr>
                <a:latin typeface="+mn-lt"/>
              </a:defRPr>
            </a:lvl1pPr>
          </a:lstStyle>
          <a:p>
            <a:r>
              <a:rPr lang="en-US"/>
              <a:t>Click icon to add table</a:t>
            </a:r>
          </a:p>
        </p:txBody>
      </p:sp>
      <p:sp>
        <p:nvSpPr>
          <p:cNvPr id="12" name="Text Placeholder 12">
            <a:extLst>
              <a:ext uri="{FF2B5EF4-FFF2-40B4-BE49-F238E27FC236}">
                <a16:creationId xmlns:a16="http://schemas.microsoft.com/office/drawing/2014/main" id="{F7BF65D1-DF30-FCEB-109F-3BA39A2E4FDF}"/>
              </a:ext>
            </a:extLst>
          </p:cNvPr>
          <p:cNvSpPr>
            <a:spLocks noGrp="1"/>
          </p:cNvSpPr>
          <p:nvPr>
            <p:ph type="body" sz="quarter" idx="14" hasCustomPrompt="1"/>
          </p:nvPr>
        </p:nvSpPr>
        <p:spPr>
          <a:xfrm>
            <a:off x="179387" y="880946"/>
            <a:ext cx="1183163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a:t>Add subtitle here</a:t>
            </a:r>
          </a:p>
        </p:txBody>
      </p:sp>
      <p:sp>
        <p:nvSpPr>
          <p:cNvPr id="3" name="Text Placeholder 8">
            <a:extLst>
              <a:ext uri="{FF2B5EF4-FFF2-40B4-BE49-F238E27FC236}">
                <a16:creationId xmlns:a16="http://schemas.microsoft.com/office/drawing/2014/main" id="{E7DEE0B7-CE48-7D0E-8859-038A469F985A}"/>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4" name="Footer Placeholder 3">
            <a:extLst>
              <a:ext uri="{FF2B5EF4-FFF2-40B4-BE49-F238E27FC236}">
                <a16:creationId xmlns:a16="http://schemas.microsoft.com/office/drawing/2014/main" id="{9A46302F-4075-36F2-9989-80399262B038}"/>
              </a:ext>
            </a:extLst>
          </p:cNvPr>
          <p:cNvSpPr>
            <a:spLocks noGrp="1"/>
          </p:cNvSpPr>
          <p:nvPr>
            <p:ph type="ftr" sz="quarter" idx="16"/>
          </p:nvPr>
        </p:nvSpPr>
        <p:spPr/>
        <p:txBody>
          <a:bodyPr/>
          <a:lstStyle>
            <a:lvl1pPr>
              <a:defRPr sz="900"/>
            </a:lvl1pPr>
          </a:lstStyle>
          <a:p>
            <a:endParaRPr lang="en-GB" dirty="0"/>
          </a:p>
        </p:txBody>
      </p:sp>
      <p:sp>
        <p:nvSpPr>
          <p:cNvPr id="6" name="Slide Number Placeholder 5">
            <a:extLst>
              <a:ext uri="{FF2B5EF4-FFF2-40B4-BE49-F238E27FC236}">
                <a16:creationId xmlns:a16="http://schemas.microsoft.com/office/drawing/2014/main" id="{6A7D61FC-01F1-D6B2-8104-03418C60E1A5}"/>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dirty="0"/>
          </a:p>
        </p:txBody>
      </p:sp>
    </p:spTree>
    <p:extLst>
      <p:ext uri="{BB962C8B-B14F-4D97-AF65-F5344CB8AC3E}">
        <p14:creationId xmlns:p14="http://schemas.microsoft.com/office/powerpoint/2010/main" val="377270599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AE28204-D2CC-0BC8-620D-E489CA48A316}"/>
              </a:ext>
            </a:extLst>
          </p:cNvPr>
          <p:cNvSpPr>
            <a:spLocks noGrp="1"/>
          </p:cNvSpPr>
          <p:nvPr>
            <p:ph type="ftr" sz="quarter" idx="11"/>
          </p:nvPr>
        </p:nvSpPr>
        <p:spPr/>
        <p:txBody>
          <a:bodyPr/>
          <a:lstStyle>
            <a:lvl1pPr>
              <a:defRPr sz="900"/>
            </a:lvl1pPr>
          </a:lstStyle>
          <a:p>
            <a:endParaRPr lang="en-GB"/>
          </a:p>
        </p:txBody>
      </p:sp>
      <p:sp>
        <p:nvSpPr>
          <p:cNvPr id="5" name="Slide Number Placeholder 10">
            <a:extLst>
              <a:ext uri="{FF2B5EF4-FFF2-40B4-BE49-F238E27FC236}">
                <a16:creationId xmlns:a16="http://schemas.microsoft.com/office/drawing/2014/main" id="{A7F238F4-A7F9-75EB-C7F6-7950D9FB41D2}"/>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6" name="Text Placeholder 8">
            <a:extLst>
              <a:ext uri="{FF2B5EF4-FFF2-40B4-BE49-F238E27FC236}">
                <a16:creationId xmlns:a16="http://schemas.microsoft.com/office/drawing/2014/main" id="{BA721D32-D642-54D3-E2DF-756AC6A43AB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195929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39C0BAD-83B8-19D1-B7FD-9554FBA0AAB4}"/>
              </a:ext>
            </a:extLst>
          </p:cNvPr>
          <p:cNvSpPr>
            <a:spLocks noGrp="1"/>
          </p:cNvSpPr>
          <p:nvPr>
            <p:ph idx="1"/>
          </p:nvPr>
        </p:nvSpPr>
        <p:spPr>
          <a:xfrm>
            <a:off x="6187886" y="179388"/>
            <a:ext cx="5824728" cy="5521388"/>
          </a:xfrm>
        </p:spPr>
        <p:txBody>
          <a:bodyPr>
            <a:normAutofit/>
          </a:bodyPr>
          <a:lstStyle>
            <a:lvl1pPr>
              <a:defRPr sz="1200"/>
            </a:lvl1pPr>
            <a:lvl2pPr>
              <a:defRPr sz="1200"/>
            </a:lvl2pPr>
            <a:lvl3pPr>
              <a:defRPr sz="1200"/>
            </a:lvl3pPr>
            <a:lvl4pPr>
              <a:defRPr sz="1200"/>
            </a:lvl4pPr>
            <a:lvl5pPr>
              <a:defRPr sz="12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a:extLst>
              <a:ext uri="{FF2B5EF4-FFF2-40B4-BE49-F238E27FC236}">
                <a16:creationId xmlns:a16="http://schemas.microsoft.com/office/drawing/2014/main" id="{2C606A0C-A55B-2EBC-EF8F-39EA30F372A8}"/>
              </a:ext>
            </a:extLst>
          </p:cNvPr>
          <p:cNvSpPr>
            <a:spLocks noGrp="1"/>
          </p:cNvSpPr>
          <p:nvPr>
            <p:ph type="body" sz="half" idx="2"/>
          </p:nvPr>
        </p:nvSpPr>
        <p:spPr>
          <a:xfrm>
            <a:off x="179386" y="1320800"/>
            <a:ext cx="5824728" cy="4379976"/>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a:extLst>
              <a:ext uri="{FF2B5EF4-FFF2-40B4-BE49-F238E27FC236}">
                <a16:creationId xmlns:a16="http://schemas.microsoft.com/office/drawing/2014/main" id="{EF4C816F-72F4-CF0C-7DFE-1E78B2015813}"/>
              </a:ext>
            </a:extLst>
          </p:cNvPr>
          <p:cNvSpPr>
            <a:spLocks noGrp="1"/>
          </p:cNvSpPr>
          <p:nvPr>
            <p:ph type="ftr" sz="quarter" idx="11"/>
          </p:nvPr>
        </p:nvSpPr>
        <p:spPr/>
        <p:txBody>
          <a:bodyPr/>
          <a:lstStyle>
            <a:lvl1pPr>
              <a:defRPr sz="900"/>
            </a:lvl1pPr>
          </a:lstStyle>
          <a:p>
            <a:endParaRPr lang="en-GB"/>
          </a:p>
        </p:txBody>
      </p:sp>
      <p:sp>
        <p:nvSpPr>
          <p:cNvPr id="8" name="Slide Number Placeholder 10">
            <a:extLst>
              <a:ext uri="{FF2B5EF4-FFF2-40B4-BE49-F238E27FC236}">
                <a16:creationId xmlns:a16="http://schemas.microsoft.com/office/drawing/2014/main" id="{04E1EC17-AB7B-B43C-001C-63A857A51485}"/>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78C000F6-FAF0-83FC-1E25-43E3E1E43702}"/>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11" name="Title 10">
            <a:extLst>
              <a:ext uri="{FF2B5EF4-FFF2-40B4-BE49-F238E27FC236}">
                <a16:creationId xmlns:a16="http://schemas.microsoft.com/office/drawing/2014/main" id="{787B0930-652D-E1C6-1408-7F66FFB00871}"/>
              </a:ext>
            </a:extLst>
          </p:cNvPr>
          <p:cNvSpPr>
            <a:spLocks noGrp="1"/>
          </p:cNvSpPr>
          <p:nvPr>
            <p:ph type="title"/>
          </p:nvPr>
        </p:nvSpPr>
        <p:spPr>
          <a:xfrm>
            <a:off x="179386" y="179388"/>
            <a:ext cx="5824728" cy="1004927"/>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725409478"/>
      </p:ext>
    </p:extLst>
  </p:cSld>
  <p:clrMapOvr>
    <a:masterClrMapping/>
  </p:clrMapOvr>
  <p:extLst>
    <p:ext uri="{DCECCB84-F9BA-43D5-87BE-67443E8EF086}">
      <p15:sldGuideLst xmlns:p15="http://schemas.microsoft.com/office/powerpoint/2012/main">
        <p15:guide id="1" orient="horz" pos="1265" userDrawn="1">
          <p15:clr>
            <a:srgbClr val="FBAE40"/>
          </p15:clr>
        </p15:guide>
        <p15:guide id="2" orient="horz" pos="115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986D543-29D3-C7ED-26F4-3E66206F4312}"/>
              </a:ext>
            </a:extLst>
          </p:cNvPr>
          <p:cNvSpPr>
            <a:spLocks noGrp="1"/>
          </p:cNvSpPr>
          <p:nvPr>
            <p:ph type="pic" sz="quarter" idx="10"/>
          </p:nvPr>
        </p:nvSpPr>
        <p:spPr>
          <a:xfrm>
            <a:off x="0" y="0"/>
            <a:ext cx="12192000" cy="6858000"/>
          </a:xfrm>
        </p:spPr>
        <p:txBody>
          <a:bodyPr anchor="ctr"/>
          <a:lstStyle>
            <a:lvl1pPr marL="0" indent="0" algn="ctr">
              <a:buNone/>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SELECT PLACEHOLDER - INSERT PICTURE FROM THE TEMPLAFY LIBRARY</a:t>
            </a: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710959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48442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7886" y="179388"/>
            <a:ext cx="5824728" cy="5521388"/>
          </a:xfrm>
        </p:spPr>
        <p:txBody>
          <a:bodyPr lIns="0" tIns="0" rIns="0" bIns="0">
            <a:normAutofit/>
          </a:bodyPr>
          <a:lstStyle>
            <a:lvl1pPr>
              <a:defRPr sz="1200">
                <a:latin typeface="+mn-lt"/>
                <a:sym typeface="Source Sans Pro" panose="020B0503030403020204" pitchFamily="34" charset="0"/>
              </a:defRPr>
            </a:lvl1pPr>
            <a:lvl2pPr>
              <a:defRPr sz="1200">
                <a:latin typeface="+mn-lt"/>
                <a:sym typeface="Source Sans Pro" panose="020B0503030403020204" pitchFamily="34" charset="0"/>
              </a:defRPr>
            </a:lvl2pPr>
            <a:lvl3pPr>
              <a:defRPr sz="1200">
                <a:latin typeface="+mn-lt"/>
                <a:sym typeface="Source Sans Pro" panose="020B0503030403020204" pitchFamily="34" charset="0"/>
              </a:defRPr>
            </a:lvl3pPr>
            <a:lvl4pPr>
              <a:defRPr sz="1200">
                <a:latin typeface="+mn-lt"/>
                <a:sym typeface="Source Sans Pro" panose="020B0503030403020204" pitchFamily="34" charset="0"/>
              </a:defRPr>
            </a:lvl4pPr>
            <a:lvl5pPr>
              <a:defRPr sz="1200">
                <a:latin typeface="+mn-lt"/>
                <a:sym typeface="Source Sans Pro" panose="020B0503030403020204" pitchFamily="34" charset="0"/>
              </a:defRPr>
            </a:lvl5pPr>
            <a:lvl6pPr>
              <a:defRPr sz="2000"/>
            </a:lvl6pPr>
            <a:lvl7pPr>
              <a:defRPr sz="2000"/>
            </a:lvl7pPr>
            <a:lvl8pPr>
              <a:defRPr sz="2000"/>
            </a:lvl8pPr>
            <a:lvl9pPr>
              <a:defRPr sz="20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Content Placeholder 10">
            <a:extLst>
              <a:ext uri="{FF2B5EF4-FFF2-40B4-BE49-F238E27FC236}">
                <a16:creationId xmlns:a16="http://schemas.microsoft.com/office/drawing/2014/main" id="{20D821C3-DF30-3E43-6A0D-D595E5CF73D0}"/>
              </a:ext>
            </a:extLst>
          </p:cNvPr>
          <p:cNvSpPr>
            <a:spLocks noGrp="1"/>
          </p:cNvSpPr>
          <p:nvPr>
            <p:ph sz="quarter" idx="15" hasCustomPrompt="1"/>
          </p:nvPr>
        </p:nvSpPr>
        <p:spPr>
          <a:xfrm>
            <a:off x="179386" y="1790127"/>
            <a:ext cx="5824728" cy="3910649"/>
          </a:xfrm>
        </p:spPr>
        <p:txBody>
          <a:bodyPr/>
          <a:lstStyle>
            <a:lvl1pPr marL="0" indent="0">
              <a:buNone/>
              <a:defRPr>
                <a:latin typeface="+mn-lt"/>
                <a:sym typeface="Source Sans Pro" panose="020B0503030403020204" pitchFamily="34" charset="0"/>
              </a:defRPr>
            </a:lvl1pPr>
            <a:lvl2pPr marL="277812" indent="0">
              <a:buNone/>
              <a:defRPr/>
            </a:lvl2pPr>
            <a:lvl3pPr marL="392112" indent="0">
              <a:buNone/>
              <a:defRPr/>
            </a:lvl3pPr>
            <a:lvl4pPr marL="540000" indent="0">
              <a:buNone/>
              <a:defRPr/>
            </a:lvl4pPr>
            <a:lvl5pPr marL="720000" indent="0">
              <a:buNone/>
              <a:defRPr/>
            </a:lvl5pPr>
          </a:lstStyle>
          <a:p>
            <a:pPr marL="0" marR="0" lvl="0" indent="0" algn="l" defTabSz="914400" rtl="0" eaLnBrk="1" fontAlgn="auto" latinLnBrk="0" hangingPunct="1">
              <a:lnSpc>
                <a:spcPct val="90000"/>
              </a:lnSpc>
              <a:spcBef>
                <a:spcPts val="1800"/>
              </a:spcBef>
              <a:spcAft>
                <a:spcPts val="0"/>
              </a:spcAft>
              <a:buClr>
                <a:schemeClr val="tx2"/>
              </a:buClr>
              <a:buSzTx/>
              <a:buFont typeface="Wingdings" panose="05000000000000000000" pitchFamily="2" charset="2"/>
              <a:buNone/>
              <a:tabLst/>
              <a:defRPr/>
            </a:pPr>
            <a:r>
              <a:rPr lang="en-GB" noProof="0" dirty="0"/>
              <a:t>To add Visual click on any of the icons below</a:t>
            </a:r>
          </a:p>
        </p:txBody>
      </p:sp>
      <p:sp>
        <p:nvSpPr>
          <p:cNvPr id="15" name="Text Placeholder 12">
            <a:extLst>
              <a:ext uri="{FF2B5EF4-FFF2-40B4-BE49-F238E27FC236}">
                <a16:creationId xmlns:a16="http://schemas.microsoft.com/office/drawing/2014/main" id="{DD0108B2-04D5-89C3-D0B4-4835C318CA8C}"/>
              </a:ext>
            </a:extLst>
          </p:cNvPr>
          <p:cNvSpPr>
            <a:spLocks noGrp="1"/>
          </p:cNvSpPr>
          <p:nvPr>
            <p:ph type="body" sz="quarter" idx="14" hasCustomPrompt="1"/>
          </p:nvPr>
        </p:nvSpPr>
        <p:spPr>
          <a:xfrm>
            <a:off x="179387" y="1324849"/>
            <a:ext cx="582472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4" name="Title 3">
            <a:extLst>
              <a:ext uri="{FF2B5EF4-FFF2-40B4-BE49-F238E27FC236}">
                <a16:creationId xmlns:a16="http://schemas.microsoft.com/office/drawing/2014/main" id="{FB477057-A1B5-D41E-AD10-FFCBEA88607B}"/>
              </a:ext>
            </a:extLst>
          </p:cNvPr>
          <p:cNvSpPr>
            <a:spLocks noGrp="1"/>
          </p:cNvSpPr>
          <p:nvPr>
            <p:ph type="title"/>
          </p:nvPr>
        </p:nvSpPr>
        <p:spPr>
          <a:xfrm>
            <a:off x="179386" y="179388"/>
            <a:ext cx="5824728" cy="1005840"/>
          </a:xfrm>
        </p:spPr>
        <p:txBody>
          <a:bodyPr/>
          <a:lstStyle/>
          <a:p>
            <a:r>
              <a:rPr lang="en-US" dirty="0"/>
              <a:t>Click to edit Master title style</a:t>
            </a:r>
            <a:endParaRPr lang="en-GB" dirty="0"/>
          </a:p>
        </p:txBody>
      </p:sp>
      <p:sp>
        <p:nvSpPr>
          <p:cNvPr id="13" name="Footer Placeholder 12">
            <a:extLst>
              <a:ext uri="{FF2B5EF4-FFF2-40B4-BE49-F238E27FC236}">
                <a16:creationId xmlns:a16="http://schemas.microsoft.com/office/drawing/2014/main" id="{F5B85007-02C0-74E6-904B-EE1AE51CE5CB}"/>
              </a:ext>
            </a:extLst>
          </p:cNvPr>
          <p:cNvSpPr>
            <a:spLocks noGrp="1"/>
          </p:cNvSpPr>
          <p:nvPr>
            <p:ph type="ftr" sz="quarter" idx="16"/>
          </p:nvPr>
        </p:nvSpPr>
        <p:spPr/>
        <p:txBody>
          <a:bodyPr/>
          <a:lstStyle>
            <a:lvl1pPr>
              <a:defRPr sz="900"/>
            </a:lvl1pPr>
          </a:lstStyle>
          <a:p>
            <a:endParaRPr lang="en-GB" dirty="0"/>
          </a:p>
        </p:txBody>
      </p:sp>
      <p:sp>
        <p:nvSpPr>
          <p:cNvPr id="16" name="Slide Number Placeholder 15">
            <a:extLst>
              <a:ext uri="{FF2B5EF4-FFF2-40B4-BE49-F238E27FC236}">
                <a16:creationId xmlns:a16="http://schemas.microsoft.com/office/drawing/2014/main" id="{072125CD-849A-5480-66F5-563D9BBEC4BD}"/>
              </a:ext>
            </a:extLst>
          </p:cNvPr>
          <p:cNvSpPr>
            <a:spLocks noGrp="1"/>
          </p:cNvSpPr>
          <p:nvPr>
            <p:ph type="sldNum" sz="quarter" idx="17"/>
          </p:nvPr>
        </p:nvSpPr>
        <p:spPr/>
        <p:txBody>
          <a:bodyPr/>
          <a:lstStyle>
            <a:lvl1pPr>
              <a:defRPr sz="900"/>
            </a:lvl1pPr>
          </a:lstStyle>
          <a:p>
            <a:fld id="{DDF71BC8-773F-4A54-968E-450E29C75AD4}" type="slidenum">
              <a:rPr lang="en-GB" smtClean="0"/>
              <a:pPr/>
              <a:t>‹#›</a:t>
            </a:fld>
            <a:endParaRPr lang="en-GB" dirty="0"/>
          </a:p>
        </p:txBody>
      </p:sp>
      <p:sp>
        <p:nvSpPr>
          <p:cNvPr id="17" name="Text Placeholder 8">
            <a:extLst>
              <a:ext uri="{FF2B5EF4-FFF2-40B4-BE49-F238E27FC236}">
                <a16:creationId xmlns:a16="http://schemas.microsoft.com/office/drawing/2014/main" id="{A7A1A9E3-4195-8B1A-95A3-CC97B9216D3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179129259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C14F6A19-DA36-BBCD-0851-13284A044C86}"/>
              </a:ext>
            </a:extLst>
          </p:cNvPr>
          <p:cNvSpPr>
            <a:spLocks noGrp="1"/>
          </p:cNvSpPr>
          <p:nvPr>
            <p:ph type="pic" sz="quarter" idx="13" hasCustomPrompt="1"/>
          </p:nvPr>
        </p:nvSpPr>
        <p:spPr>
          <a:xfrm>
            <a:off x="6187886" y="177800"/>
            <a:ext cx="5824728" cy="5522976"/>
          </a:xfrm>
        </p:spPr>
        <p:txBody>
          <a:bodyPr anchor="ctr"/>
          <a:lstStyle>
            <a:lvl1pPr marL="0" indent="0" algn="ctr">
              <a:buNone/>
              <a:defRPr/>
            </a:lvl1pPr>
          </a:lstStyle>
          <a:p>
            <a:r>
              <a:rPr lang="en-US" dirty="0"/>
              <a:t>Click to select placeholder - insert picture from the </a:t>
            </a:r>
            <a:r>
              <a:rPr lang="en-US" dirty="0" err="1"/>
              <a:t>Templafy</a:t>
            </a:r>
            <a:r>
              <a:rPr lang="en-US" dirty="0"/>
              <a:t> library</a:t>
            </a:r>
          </a:p>
        </p:txBody>
      </p:sp>
      <p:sp>
        <p:nvSpPr>
          <p:cNvPr id="4" name="Text Placeholder 3">
            <a:extLst>
              <a:ext uri="{FF2B5EF4-FFF2-40B4-BE49-F238E27FC236}">
                <a16:creationId xmlns:a16="http://schemas.microsoft.com/office/drawing/2014/main" id="{2C606A0C-A55B-2EBC-EF8F-39EA30F372A8}"/>
              </a:ext>
            </a:extLst>
          </p:cNvPr>
          <p:cNvSpPr>
            <a:spLocks noGrp="1"/>
          </p:cNvSpPr>
          <p:nvPr>
            <p:ph type="body" sz="half" idx="2"/>
          </p:nvPr>
        </p:nvSpPr>
        <p:spPr>
          <a:xfrm>
            <a:off x="179386" y="1320800"/>
            <a:ext cx="5824728" cy="4379976"/>
          </a:xfrm>
        </p:spPr>
        <p:txBody>
          <a:bodyPr>
            <a:normAutofit/>
          </a:bodyPr>
          <a:lstStyle>
            <a:lvl1pPr marL="0" indent="0">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a:extLst>
              <a:ext uri="{FF2B5EF4-FFF2-40B4-BE49-F238E27FC236}">
                <a16:creationId xmlns:a16="http://schemas.microsoft.com/office/drawing/2014/main" id="{EF4C816F-72F4-CF0C-7DFE-1E78B2015813}"/>
              </a:ext>
            </a:extLst>
          </p:cNvPr>
          <p:cNvSpPr>
            <a:spLocks noGrp="1"/>
          </p:cNvSpPr>
          <p:nvPr>
            <p:ph type="ftr" sz="quarter" idx="11"/>
          </p:nvPr>
        </p:nvSpPr>
        <p:spPr/>
        <p:txBody>
          <a:bodyPr/>
          <a:lstStyle>
            <a:lvl1pPr>
              <a:defRPr sz="900"/>
            </a:lvl1pPr>
          </a:lstStyle>
          <a:p>
            <a:endParaRPr lang="en-GB" dirty="0"/>
          </a:p>
        </p:txBody>
      </p:sp>
      <p:sp>
        <p:nvSpPr>
          <p:cNvPr id="8" name="Slide Number Placeholder 10">
            <a:extLst>
              <a:ext uri="{FF2B5EF4-FFF2-40B4-BE49-F238E27FC236}">
                <a16:creationId xmlns:a16="http://schemas.microsoft.com/office/drawing/2014/main" id="{04E1EC17-AB7B-B43C-001C-63A857A51485}"/>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sp>
        <p:nvSpPr>
          <p:cNvPr id="9" name="Text Placeholder 8">
            <a:extLst>
              <a:ext uri="{FF2B5EF4-FFF2-40B4-BE49-F238E27FC236}">
                <a16:creationId xmlns:a16="http://schemas.microsoft.com/office/drawing/2014/main" id="{78C000F6-FAF0-83FC-1E25-43E3E1E43702}"/>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
        <p:nvSpPr>
          <p:cNvPr id="7" name="Title 6">
            <a:extLst>
              <a:ext uri="{FF2B5EF4-FFF2-40B4-BE49-F238E27FC236}">
                <a16:creationId xmlns:a16="http://schemas.microsoft.com/office/drawing/2014/main" id="{A8F80EDD-4098-1270-00AB-B429E0E2F861}"/>
              </a:ext>
            </a:extLst>
          </p:cNvPr>
          <p:cNvSpPr>
            <a:spLocks noGrp="1"/>
          </p:cNvSpPr>
          <p:nvPr>
            <p:ph type="title"/>
          </p:nvPr>
        </p:nvSpPr>
        <p:spPr>
          <a:xfrm>
            <a:off x="179386" y="179388"/>
            <a:ext cx="5824728" cy="100584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851021020"/>
      </p:ext>
    </p:extLst>
  </p:cSld>
  <p:clrMapOvr>
    <a:masterClrMapping/>
  </p:clrMapOvr>
  <p:extLst>
    <p:ext uri="{DCECCB84-F9BA-43D5-87BE-67443E8EF086}">
      <p15:sldGuideLst xmlns:p15="http://schemas.microsoft.com/office/powerpoint/2012/main">
        <p15:guide id="1" orient="horz" pos="1265" userDrawn="1">
          <p15:clr>
            <a:srgbClr val="FBAE40"/>
          </p15:clr>
        </p15:guide>
        <p15:guide id="2" orient="horz" pos="115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450177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Source Sans Pro" panose="020B0503030403020204" pitchFamily="34" charset="0"/>
              <a:ea typeface="+mj-ea"/>
              <a:cs typeface="+mj-cs"/>
              <a:sym typeface="Source Sans Pro" panose="020B0503030403020204" pitchFamily="34" charset="0"/>
            </a:endParaRPr>
          </a:p>
        </p:txBody>
      </p:sp>
      <p:sp>
        <p:nvSpPr>
          <p:cNvPr id="15" name="Text Placeholder 14">
            <a:extLst>
              <a:ext uri="{FF2B5EF4-FFF2-40B4-BE49-F238E27FC236}">
                <a16:creationId xmlns:a16="http://schemas.microsoft.com/office/drawing/2014/main" id="{F24CB0F5-07E9-5625-6BFB-71BCC3E2AA78}"/>
              </a:ext>
            </a:extLst>
          </p:cNvPr>
          <p:cNvSpPr>
            <a:spLocks noGrp="1"/>
          </p:cNvSpPr>
          <p:nvPr>
            <p:ph type="body" sz="quarter" idx="18"/>
          </p:nvPr>
        </p:nvSpPr>
        <p:spPr>
          <a:xfrm>
            <a:off x="179385" y="1787144"/>
            <a:ext cx="5824728" cy="3913632"/>
          </a:xfrm>
        </p:spPr>
        <p:txBody>
          <a:bodyPr/>
          <a:lstStyle>
            <a:lvl1pPr>
              <a:defRPr>
                <a:latin typeface="+mn-lt"/>
                <a:sym typeface="Source Sans Pro" panose="020B0503030403020204" pitchFamily="34" charset="0"/>
              </a:defRPr>
            </a:lvl1pPr>
            <a:lvl2pPr>
              <a:defRPr>
                <a:latin typeface="+mn-lt"/>
                <a:sym typeface="Source Sans Pro" panose="020B0503030403020204" pitchFamily="34" charset="0"/>
              </a:defRPr>
            </a:lvl2pPr>
            <a:lvl3pPr>
              <a:defRPr>
                <a:latin typeface="+mn-lt"/>
                <a:sym typeface="Source Sans Pro" panose="020B0503030403020204" pitchFamily="34" charset="0"/>
              </a:defRPr>
            </a:lvl3pPr>
            <a:lvl4pPr>
              <a:defRPr>
                <a:latin typeface="+mn-lt"/>
                <a:sym typeface="Source Sans Pro" panose="020B0503030403020204" pitchFamily="34" charset="0"/>
              </a:defRPr>
            </a:lvl4pPr>
            <a:lvl5pPr>
              <a:defRPr>
                <a:latin typeface="+mn-lt"/>
                <a:sym typeface="Source Sans Pro" panose="020B05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Picture Placeholder 19">
            <a:extLst>
              <a:ext uri="{FF2B5EF4-FFF2-40B4-BE49-F238E27FC236}">
                <a16:creationId xmlns:a16="http://schemas.microsoft.com/office/drawing/2014/main" id="{A878717E-F77F-22A7-B612-0051C38F5584}"/>
              </a:ext>
            </a:extLst>
          </p:cNvPr>
          <p:cNvSpPr>
            <a:spLocks noGrp="1"/>
          </p:cNvSpPr>
          <p:nvPr>
            <p:ph type="pic" sz="quarter" idx="19" hasCustomPrompt="1"/>
          </p:nvPr>
        </p:nvSpPr>
        <p:spPr>
          <a:xfrm>
            <a:off x="6187886" y="179388"/>
            <a:ext cx="5824728" cy="5521388"/>
          </a:xfrm>
        </p:spPr>
        <p:txBody>
          <a:bodyPr/>
          <a:lstStyle>
            <a:lvl1pPr marL="0" indent="0" algn="ctr">
              <a:buNone/>
              <a:defRPr>
                <a:latin typeface="+mn-lt"/>
                <a:sym typeface="Source Sans Pro" panose="020B0503030403020204" pitchFamily="34" charset="0"/>
              </a:defRPr>
            </a:lvl1pPr>
          </a:lstStyle>
          <a:p>
            <a:r>
              <a:rPr lang="en-US"/>
              <a:t>click on the icons below to add picture</a:t>
            </a:r>
          </a:p>
        </p:txBody>
      </p:sp>
      <p:sp>
        <p:nvSpPr>
          <p:cNvPr id="12" name="Text Placeholder 12">
            <a:extLst>
              <a:ext uri="{FF2B5EF4-FFF2-40B4-BE49-F238E27FC236}">
                <a16:creationId xmlns:a16="http://schemas.microsoft.com/office/drawing/2014/main" id="{A48D686B-02AD-E0C4-22B2-9A5CB28AF6CA}"/>
              </a:ext>
            </a:extLst>
          </p:cNvPr>
          <p:cNvSpPr>
            <a:spLocks noGrp="1"/>
          </p:cNvSpPr>
          <p:nvPr>
            <p:ph type="body" sz="quarter" idx="14" hasCustomPrompt="1"/>
          </p:nvPr>
        </p:nvSpPr>
        <p:spPr>
          <a:xfrm>
            <a:off x="179387" y="1324849"/>
            <a:ext cx="5824728" cy="303369"/>
          </a:xfrm>
        </p:spPr>
        <p:txBody>
          <a:bodyPr>
            <a:normAutofit/>
          </a:bodyPr>
          <a:lstStyle>
            <a:lvl1pPr marL="0" indent="0">
              <a:spcBef>
                <a:spcPts val="0"/>
              </a:spcBef>
              <a:buFont typeface="Arial" panose="020B0604020202020204" pitchFamily="34" charset="0"/>
              <a:buNone/>
              <a:defRPr sz="1600">
                <a:solidFill>
                  <a:schemeClr val="tx2"/>
                </a:solidFill>
                <a:latin typeface="+mn-lt"/>
                <a:sym typeface="Source Sans Pro" panose="020B0503030403020204" pitchFamily="34" charset="0"/>
              </a:defRPr>
            </a:lvl1pPr>
            <a:lvl2pPr marL="180000" indent="0">
              <a:buFont typeface="Arial" panose="020B0604020202020204" pitchFamily="34" charset="0"/>
              <a:buNone/>
              <a:defRPr/>
            </a:lvl2pPr>
            <a:lvl3pPr marL="360000" indent="0">
              <a:buFont typeface="Arial" panose="020B0604020202020204" pitchFamily="34" charset="0"/>
              <a:buNone/>
              <a:defRPr/>
            </a:lvl3pPr>
            <a:lvl4pPr marL="540000" indent="0">
              <a:buFont typeface="Arial" panose="020B0604020202020204" pitchFamily="34" charset="0"/>
              <a:buNone/>
              <a:defRPr/>
            </a:lvl4pPr>
            <a:lvl5pPr marL="720000" indent="0">
              <a:buFont typeface="Arial" panose="020B0604020202020204" pitchFamily="34" charset="0"/>
              <a:buNone/>
              <a:defRPr/>
            </a:lvl5pPr>
          </a:lstStyle>
          <a:p>
            <a:pPr lvl="0"/>
            <a:r>
              <a:rPr lang="en-US" dirty="0"/>
              <a:t>Add subtitle here</a:t>
            </a:r>
          </a:p>
        </p:txBody>
      </p:sp>
      <p:sp>
        <p:nvSpPr>
          <p:cNvPr id="2" name="Title 1">
            <a:extLst>
              <a:ext uri="{FF2B5EF4-FFF2-40B4-BE49-F238E27FC236}">
                <a16:creationId xmlns:a16="http://schemas.microsoft.com/office/drawing/2014/main" id="{52677B1D-C5F3-7657-C502-4BEF50474EA2}"/>
              </a:ext>
            </a:extLst>
          </p:cNvPr>
          <p:cNvSpPr>
            <a:spLocks noGrp="1"/>
          </p:cNvSpPr>
          <p:nvPr>
            <p:ph type="title"/>
          </p:nvPr>
        </p:nvSpPr>
        <p:spPr>
          <a:xfrm>
            <a:off x="179386" y="179388"/>
            <a:ext cx="5824728" cy="1005840"/>
          </a:xfrm>
        </p:spPr>
        <p:txBody>
          <a:bodyPr/>
          <a:lstStyle/>
          <a:p>
            <a:r>
              <a:rPr lang="en-US" dirty="0"/>
              <a:t>Click to edit Master title style</a:t>
            </a:r>
            <a:endParaRPr lang="en-GB" dirty="0"/>
          </a:p>
        </p:txBody>
      </p:sp>
      <p:sp>
        <p:nvSpPr>
          <p:cNvPr id="6" name="Footer Placeholder 5">
            <a:extLst>
              <a:ext uri="{FF2B5EF4-FFF2-40B4-BE49-F238E27FC236}">
                <a16:creationId xmlns:a16="http://schemas.microsoft.com/office/drawing/2014/main" id="{2BA5FE7F-A636-5077-A65C-6C38AE025F25}"/>
              </a:ext>
            </a:extLst>
          </p:cNvPr>
          <p:cNvSpPr>
            <a:spLocks noGrp="1"/>
          </p:cNvSpPr>
          <p:nvPr>
            <p:ph type="ftr" sz="quarter" idx="20"/>
          </p:nvPr>
        </p:nvSpPr>
        <p:spPr/>
        <p:txBody>
          <a:bodyPr/>
          <a:lstStyle>
            <a:lvl1pPr>
              <a:defRPr sz="900"/>
            </a:lvl1pPr>
          </a:lstStyle>
          <a:p>
            <a:endParaRPr lang="en-GB" dirty="0"/>
          </a:p>
        </p:txBody>
      </p:sp>
      <p:sp>
        <p:nvSpPr>
          <p:cNvPr id="7" name="Slide Number Placeholder 6">
            <a:extLst>
              <a:ext uri="{FF2B5EF4-FFF2-40B4-BE49-F238E27FC236}">
                <a16:creationId xmlns:a16="http://schemas.microsoft.com/office/drawing/2014/main" id="{542B8592-4155-F0B6-C175-2CAF67AF9731}"/>
              </a:ext>
            </a:extLst>
          </p:cNvPr>
          <p:cNvSpPr>
            <a:spLocks noGrp="1"/>
          </p:cNvSpPr>
          <p:nvPr>
            <p:ph type="sldNum" sz="quarter" idx="21"/>
          </p:nvPr>
        </p:nvSpPr>
        <p:spPr/>
        <p:txBody>
          <a:bodyPr/>
          <a:lstStyle>
            <a:lvl1pPr>
              <a:defRPr sz="900"/>
            </a:lvl1pPr>
          </a:lstStyle>
          <a:p>
            <a:fld id="{DDF71BC8-773F-4A54-968E-450E29C75AD4}" type="slidenum">
              <a:rPr lang="en-GB" smtClean="0"/>
              <a:pPr/>
              <a:t>‹#›</a:t>
            </a:fld>
            <a:endParaRPr lang="en-GB" dirty="0"/>
          </a:p>
        </p:txBody>
      </p:sp>
      <p:sp>
        <p:nvSpPr>
          <p:cNvPr id="10" name="Text Placeholder 8">
            <a:extLst>
              <a:ext uri="{FF2B5EF4-FFF2-40B4-BE49-F238E27FC236}">
                <a16:creationId xmlns:a16="http://schemas.microsoft.com/office/drawing/2014/main" id="{7CD37418-B455-FE92-50DB-95F1C72288DD}"/>
              </a:ext>
            </a:extLst>
          </p:cNvPr>
          <p:cNvSpPr>
            <a:spLocks noGrp="1"/>
          </p:cNvSpPr>
          <p:nvPr>
            <p:ph type="body" sz="quarter" idx="12" hasCustomPrompt="1"/>
          </p:nvPr>
        </p:nvSpPr>
        <p:spPr>
          <a:xfrm>
            <a:off x="642796" y="5884092"/>
            <a:ext cx="9464040" cy="365760"/>
          </a:xfrm>
        </p:spPr>
        <p:txBody>
          <a:bodyPr anchor="b">
            <a:normAutofit/>
          </a:bodyPr>
          <a:lstStyle>
            <a:lvl1pPr marL="0" indent="0" algn="l">
              <a:buNone/>
              <a:defRPr sz="900">
                <a:solidFill>
                  <a:schemeClr val="bg1">
                    <a:lumMod val="50000"/>
                  </a:schemeClr>
                </a:solidFill>
              </a:defRPr>
            </a:lvl1pPr>
          </a:lstStyle>
          <a:p>
            <a:pPr lvl="0"/>
            <a:r>
              <a:rPr lang="en-US" dirty="0"/>
              <a:t>Source </a:t>
            </a:r>
          </a:p>
        </p:txBody>
      </p:sp>
    </p:spTree>
    <p:extLst>
      <p:ext uri="{BB962C8B-B14F-4D97-AF65-F5344CB8AC3E}">
        <p14:creationId xmlns:p14="http://schemas.microsoft.com/office/powerpoint/2010/main" val="360749736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ernal Legal Disclaimer ">
    <p:spTree>
      <p:nvGrpSpPr>
        <p:cNvPr id="1" name=""/>
        <p:cNvGrpSpPr/>
        <p:nvPr/>
      </p:nvGrpSpPr>
      <p:grpSpPr>
        <a:xfrm>
          <a:off x="0" y="0"/>
          <a:ext cx="0" cy="0"/>
          <a:chOff x="0" y="0"/>
          <a:chExt cx="0" cy="0"/>
        </a:xfrm>
      </p:grpSpPr>
      <p:sp>
        <p:nvSpPr>
          <p:cNvPr id="5" name="text" descr="{&quot;templafy&quot;:{&quot;id&quot;:&quot;73195096-35c0-413e-9fdc-dc643feb0d1e&quot;}}" title="UserProfile.LegalEntity.DisclaimerPowerPoint_{{Form.Audience.Audience}}">
            <a:extLst>
              <a:ext uri="{FF2B5EF4-FFF2-40B4-BE49-F238E27FC236}">
                <a16:creationId xmlns:a16="http://schemas.microsoft.com/office/drawing/2014/main" id="{C29D54A5-BB86-3F92-24C7-1F327E04FF9E}"/>
              </a:ext>
            </a:extLst>
          </p:cNvPr>
          <p:cNvSpPr/>
          <p:nvPr userDrawn="1"/>
        </p:nvSpPr>
        <p:spPr>
          <a:xfrm>
            <a:off x="539750" y="5378450"/>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GB" sz="900" noProof="0" dirty="0">
                <a:solidFill>
                  <a:schemeClr val="tx1"/>
                </a:solidFill>
              </a:rPr>
              <a:t>© 2024 </a:t>
            </a:r>
            <a:r>
              <a:rPr lang="en-GB" sz="900" noProof="0" dirty="0" err="1">
                <a:solidFill>
                  <a:schemeClr val="tx1"/>
                </a:solidFill>
              </a:rPr>
              <a:t>Systemiq</a:t>
            </a:r>
            <a:r>
              <a:rPr lang="en-GB" sz="900" noProof="0" dirty="0">
                <a:solidFill>
                  <a:schemeClr val="tx1"/>
                </a:solidFill>
              </a:rPr>
              <a:t> Ltd. All rights reserved.
This is an internal document which provides confidential advice and guidance to partners and staff of </a:t>
            </a:r>
            <a:r>
              <a:rPr lang="en-GB" sz="900" noProof="0" dirty="0" err="1">
                <a:solidFill>
                  <a:schemeClr val="tx1"/>
                </a:solidFill>
              </a:rPr>
              <a:t>Systemiq</a:t>
            </a:r>
            <a:r>
              <a:rPr lang="en-GB" sz="900" noProof="0" dirty="0">
                <a:solidFill>
                  <a:schemeClr val="tx1"/>
                </a:solidFill>
              </a:rPr>
              <a:t> Ltd. and its subsidiaries. It is not to be copied or made available to any other party without prior written approval.</a:t>
            </a:r>
          </a:p>
        </p:txBody>
      </p:sp>
      <p:pic>
        <p:nvPicPr>
          <p:cNvPr id="6" name="Picture 5">
            <a:extLst>
              <a:ext uri="{FF2B5EF4-FFF2-40B4-BE49-F238E27FC236}">
                <a16:creationId xmlns:a16="http://schemas.microsoft.com/office/drawing/2014/main" id="{253C2779-C15C-6DBD-9A6C-6374BA8F16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25556484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xternal Legal Disclaimer ">
    <p:spTree>
      <p:nvGrpSpPr>
        <p:cNvPr id="1" name=""/>
        <p:cNvGrpSpPr/>
        <p:nvPr/>
      </p:nvGrpSpPr>
      <p:grpSpPr>
        <a:xfrm>
          <a:off x="0" y="0"/>
          <a:ext cx="0" cy="0"/>
          <a:chOff x="0" y="0"/>
          <a:chExt cx="0" cy="0"/>
        </a:xfrm>
      </p:grpSpPr>
      <p:sp>
        <p:nvSpPr>
          <p:cNvPr id="5" name="text" descr="{&quot;templafy&quot;:{&quot;id&quot;:&quot;73195096-35c0-413e-9fdc-dc643feb0d1e&quot;}}" title="UserProfile.LegalEntity.DisclaimerPowerPoint_{{Form.Audience.Audience}}">
            <a:extLst>
              <a:ext uri="{FF2B5EF4-FFF2-40B4-BE49-F238E27FC236}">
                <a16:creationId xmlns:a16="http://schemas.microsoft.com/office/drawing/2014/main" id="{C29D54A5-BB86-3F92-24C7-1F327E04FF9E}"/>
              </a:ext>
            </a:extLst>
          </p:cNvPr>
          <p:cNvSpPr/>
          <p:nvPr userDrawn="1"/>
        </p:nvSpPr>
        <p:spPr>
          <a:xfrm>
            <a:off x="539750" y="5378450"/>
            <a:ext cx="10341864"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ts val="1200"/>
              </a:lnSpc>
              <a:spcAft>
                <a:spcPts val="600"/>
              </a:spcAft>
            </a:pPr>
            <a:r>
              <a:rPr lang="en-GB" sz="900" noProof="0" dirty="0">
                <a:solidFill>
                  <a:schemeClr val="tx1"/>
                </a:solidFill>
              </a:rPr>
              <a:t>© 2024</a:t>
            </a:r>
            <a:r>
              <a:rPr lang="en-US" sz="900" kern="1200" dirty="0">
                <a:solidFill>
                  <a:schemeClr val="tx1"/>
                </a:solidFill>
                <a:latin typeface="+mn-lt"/>
                <a:ea typeface="+mn-ea"/>
                <a:cs typeface="+mn-cs"/>
              </a:rPr>
              <a:t>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Ltd. All rights reserved.</a:t>
            </a:r>
          </a:p>
          <a:p>
            <a:pPr>
              <a:lnSpc>
                <a:spcPts val="1200"/>
              </a:lnSpc>
              <a:spcAft>
                <a:spcPts val="600"/>
              </a:spcAft>
            </a:pPr>
            <a:r>
              <a:rPr lang="en-US" sz="900" kern="1200" dirty="0">
                <a:solidFill>
                  <a:schemeClr val="tx1"/>
                </a:solidFill>
                <a:latin typeface="+mn-lt"/>
                <a:ea typeface="+mn-ea"/>
                <a:cs typeface="+mn-cs"/>
              </a:rPr>
              <a:t>This document (the “Document”) is for informational purposes only and is being made available to you by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a:t>
            </a:r>
            <a:endParaRPr lang="en-GB" sz="900" kern="1200" dirty="0">
              <a:solidFill>
                <a:schemeClr val="tx1"/>
              </a:solidFill>
              <a:latin typeface="+mn-lt"/>
              <a:ea typeface="+mn-ea"/>
              <a:cs typeface="+mn-cs"/>
            </a:endParaRPr>
          </a:p>
          <a:p>
            <a:pPr>
              <a:lnSpc>
                <a:spcPts val="1200"/>
              </a:lnSpc>
              <a:spcAft>
                <a:spcPts val="600"/>
              </a:spcAft>
            </a:pPr>
            <a:r>
              <a:rPr lang="en-US" sz="900" kern="1200" dirty="0">
                <a:solidFill>
                  <a:schemeClr val="tx1"/>
                </a:solidFill>
                <a:latin typeface="+mn-lt"/>
                <a:ea typeface="+mn-ea"/>
                <a:cs typeface="+mn-cs"/>
              </a:rPr>
              <a:t>This Document is published by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and contains information that has been or may have been provided by a number of sources.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has not separately verified the information provided from outside sources and cannot take responsibility if any of these statements misrepresent a stakeholder position or if positions evolve over time. </a:t>
            </a:r>
            <a:endParaRPr lang="en-GB" sz="900" kern="1200" dirty="0">
              <a:solidFill>
                <a:schemeClr val="tx1"/>
              </a:solidFill>
              <a:latin typeface="+mn-lt"/>
              <a:ea typeface="+mn-ea"/>
              <a:cs typeface="+mn-cs"/>
            </a:endParaRPr>
          </a:p>
          <a:p>
            <a:pPr>
              <a:lnSpc>
                <a:spcPts val="1200"/>
              </a:lnSpc>
              <a:spcAft>
                <a:spcPts val="600"/>
              </a:spcAft>
            </a:pPr>
            <a:r>
              <a:rPr lang="en-US" sz="900" kern="1200" dirty="0">
                <a:solidFill>
                  <a:schemeClr val="tx1"/>
                </a:solidFill>
                <a:latin typeface="+mn-lt"/>
                <a:ea typeface="+mn-ea"/>
                <a:cs typeface="+mn-cs"/>
              </a:rPr>
              <a:t>To the extent permitted by law, nothing contained herein shall constitute any representation or warranty and no responsibility or liability is accepted by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as to the accuracy or completeness of any information supplied herein. Recipients of this Document are advised to perform independent verification of information and conduct their own analysis in relation to any of the material set out. </a:t>
            </a:r>
            <a:endParaRPr lang="en-GB" sz="900" kern="1200" dirty="0">
              <a:solidFill>
                <a:schemeClr val="tx1"/>
              </a:solidFill>
              <a:latin typeface="+mn-lt"/>
              <a:ea typeface="+mn-ea"/>
              <a:cs typeface="+mn-cs"/>
            </a:endParaRPr>
          </a:p>
          <a:p>
            <a:pPr>
              <a:lnSpc>
                <a:spcPts val="1200"/>
              </a:lnSpc>
              <a:spcAft>
                <a:spcPts val="600"/>
              </a:spcAft>
            </a:pPr>
            <a:r>
              <a:rPr lang="en-US" sz="900" kern="1200" dirty="0">
                <a:solidFill>
                  <a:schemeClr val="tx1"/>
                </a:solidFill>
                <a:latin typeface="+mn-lt"/>
                <a:ea typeface="+mn-ea"/>
                <a:cs typeface="+mn-cs"/>
              </a:rPr>
              <a:t>The statements contained herein are made as at the date of the Document.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or any member, employee, counsel, officer, director, representative, agent or affiliate of </a:t>
            </a:r>
            <a:r>
              <a:rPr lang="en-US" sz="900" kern="1200" dirty="0" err="1">
                <a:solidFill>
                  <a:schemeClr val="tx1"/>
                </a:solidFill>
                <a:latin typeface="+mn-lt"/>
                <a:ea typeface="+mn-ea"/>
                <a:cs typeface="+mn-cs"/>
              </a:rPr>
              <a:t>Systemiq</a:t>
            </a:r>
            <a:r>
              <a:rPr lang="en-US" sz="900" kern="1200" dirty="0">
                <a:solidFill>
                  <a:schemeClr val="tx1"/>
                </a:solidFill>
                <a:latin typeface="+mn-lt"/>
                <a:ea typeface="+mn-ea"/>
                <a:cs typeface="+mn-cs"/>
              </a:rPr>
              <a:t> does not have any obligation to update or otherwise revise any statements reflecting circumstances arising after the date of this Document. </a:t>
            </a:r>
            <a:endParaRPr lang="en-GB" sz="900" kern="1200" dirty="0">
              <a:solidFill>
                <a:schemeClr val="tx1"/>
              </a:solidFill>
              <a:latin typeface="+mn-lt"/>
              <a:ea typeface="+mn-ea"/>
              <a:cs typeface="+mn-cs"/>
            </a:endParaRPr>
          </a:p>
          <a:p>
            <a:pPr>
              <a:lnSpc>
                <a:spcPts val="1200"/>
              </a:lnSpc>
              <a:spcAft>
                <a:spcPts val="600"/>
              </a:spcAft>
            </a:pPr>
            <a:r>
              <a:rPr lang="en-US" sz="900" kern="1200" dirty="0">
                <a:solidFill>
                  <a:schemeClr val="tx1"/>
                </a:solidFill>
                <a:latin typeface="+mn-lt"/>
                <a:ea typeface="+mn-ea"/>
                <a:cs typeface="+mn-cs"/>
              </a:rPr>
              <a:t>This Document shall not be treated as tax, regulatory, accounting, legal, investment or any other advice in relation to the recipient of this information and this information should not and cannot be relied upon as such.</a:t>
            </a:r>
            <a:endParaRPr lang="en-GB" sz="900" kern="1200" dirty="0">
              <a:solidFill>
                <a:schemeClr val="tx1"/>
              </a:solidFill>
              <a:latin typeface="+mn-lt"/>
              <a:ea typeface="+mn-ea"/>
              <a:cs typeface="+mn-cs"/>
            </a:endParaRPr>
          </a:p>
          <a:p>
            <a:pPr>
              <a:lnSpc>
                <a:spcPts val="1200"/>
              </a:lnSpc>
              <a:spcAft>
                <a:spcPts val="600"/>
              </a:spcAft>
            </a:pPr>
            <a:r>
              <a:rPr lang="en-US" sz="900" kern="1200" dirty="0">
                <a:solidFill>
                  <a:schemeClr val="tx1"/>
                </a:solidFill>
                <a:latin typeface="+mn-lt"/>
                <a:ea typeface="+mn-ea"/>
                <a:cs typeface="+mn-cs"/>
              </a:rPr>
              <a:t>If you are in any doubt about the potential purpose to which this communication relates you should consult an </a:t>
            </a:r>
            <a:r>
              <a:rPr lang="en-US" sz="900" kern="1200" dirty="0" err="1">
                <a:solidFill>
                  <a:schemeClr val="tx1"/>
                </a:solidFill>
                <a:latin typeface="+mn-lt"/>
                <a:ea typeface="+mn-ea"/>
                <a:cs typeface="+mn-cs"/>
              </a:rPr>
              <a:t>authorised</a:t>
            </a:r>
            <a:r>
              <a:rPr lang="en-US" sz="900" kern="1200" dirty="0">
                <a:solidFill>
                  <a:schemeClr val="tx1"/>
                </a:solidFill>
                <a:latin typeface="+mn-lt"/>
                <a:ea typeface="+mn-ea"/>
                <a:cs typeface="+mn-cs"/>
              </a:rPr>
              <a:t> person who </a:t>
            </a:r>
            <a:r>
              <a:rPr lang="en-US" sz="900" kern="1200" dirty="0" err="1">
                <a:solidFill>
                  <a:schemeClr val="tx1"/>
                </a:solidFill>
                <a:latin typeface="+mn-lt"/>
                <a:ea typeface="+mn-ea"/>
                <a:cs typeface="+mn-cs"/>
              </a:rPr>
              <a:t>specialises</a:t>
            </a:r>
            <a:r>
              <a:rPr lang="en-US" sz="900" kern="1200" dirty="0">
                <a:solidFill>
                  <a:schemeClr val="tx1"/>
                </a:solidFill>
                <a:latin typeface="+mn-lt"/>
                <a:ea typeface="+mn-ea"/>
                <a:cs typeface="+mn-cs"/>
              </a:rPr>
              <a:t> in advising on business to which it relates.</a:t>
            </a:r>
            <a:endParaRPr lang="en-GB" sz="900" kern="1200" dirty="0">
              <a:solidFill>
                <a:schemeClr val="tx1"/>
              </a:solidFill>
              <a:latin typeface="+mn-lt"/>
              <a:ea typeface="+mn-ea"/>
              <a:cs typeface="+mn-cs"/>
            </a:endParaRPr>
          </a:p>
        </p:txBody>
      </p:sp>
      <p:pic>
        <p:nvPicPr>
          <p:cNvPr id="6" name="Picture 5">
            <a:extLst>
              <a:ext uri="{FF2B5EF4-FFF2-40B4-BE49-F238E27FC236}">
                <a16:creationId xmlns:a16="http://schemas.microsoft.com/office/drawing/2014/main" id="{253C2779-C15C-6DBD-9A6C-6374BA8F16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42764499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552556401"/>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47D933-FA93-44C8-A1BB-C39682834637}"/>
              </a:ext>
            </a:extLst>
          </p:cNvPr>
          <p:cNvSpPr/>
          <p:nvPr/>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5029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Museo Sans 10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lstStyle/>
          <a:p>
            <a:endParaRPr lang="en-GB"/>
          </a:p>
        </p:txBody>
      </p:sp>
      <p:pic>
        <p:nvPicPr>
          <p:cNvPr id="2" name="Picture 1" descr="A close up of a logo&#10;&#10;Description automatically generated">
            <a:extLst>
              <a:ext uri="{FF2B5EF4-FFF2-40B4-BE49-F238E27FC236}">
                <a16:creationId xmlns:a16="http://schemas.microsoft.com/office/drawing/2014/main" id="{07F4F159-FA6F-9C45-35BB-C55614947F6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1654" r="7536" b="21822"/>
          <a:stretch/>
        </p:blipFill>
        <p:spPr>
          <a:xfrm>
            <a:off x="10428634" y="6236494"/>
            <a:ext cx="1618109" cy="478631"/>
          </a:xfrm>
          <a:prstGeom prst="rect">
            <a:avLst/>
          </a:prstGeom>
        </p:spPr>
      </p:pic>
    </p:spTree>
    <p:extLst>
      <p:ext uri="{BB962C8B-B14F-4D97-AF65-F5344CB8AC3E}">
        <p14:creationId xmlns:p14="http://schemas.microsoft.com/office/powerpoint/2010/main" val="35491955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F5B25C6-580C-4EB0-BC27-B245610EC45F}"/>
              </a:ext>
            </a:extLst>
          </p:cNvPr>
          <p:cNvSpPr>
            <a:spLocks noGrp="1"/>
          </p:cNvSpPr>
          <p:nvPr>
            <p:ph type="pic" sz="quarter" idx="10" hasCustomPrompt="1"/>
          </p:nvPr>
        </p:nvSpPr>
        <p:spPr>
          <a:xfrm>
            <a:off x="0" y="0"/>
            <a:ext cx="12192000" cy="6858000"/>
          </a:xfrm>
        </p:spPr>
        <p:txBody>
          <a:bodyPr lIns="0" tIns="1800000" rIns="0" bIns="0" anchor="ctr" anchorCtr="1"/>
          <a:lstStyle>
            <a:lvl1pPr marL="0" indent="0" algn="ctr">
              <a:buNone/>
              <a:defRPr/>
            </a:lvl1pPr>
          </a:lstStyle>
          <a:p>
            <a:r>
              <a:rPr lang="en-GB" noProof="0"/>
              <a:t>CLICK TO SELECT PLACEHOLDER - INSERT PICTURE FROM THE TEMPLAFY LIBRARY</a:t>
            </a: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3643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099"/>
            <a:ext cx="6741079" cy="2390775"/>
          </a:xfrm>
        </p:spPr>
        <p:txBody>
          <a:bodyPr anchor="t"/>
          <a:lstStyle>
            <a:lvl1pPr algn="l">
              <a:defRPr sz="6000">
                <a:solidFill>
                  <a:schemeClr val="bg2"/>
                </a:solidFill>
              </a:defRPr>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Tree>
    <p:extLst>
      <p:ext uri="{BB962C8B-B14F-4D97-AF65-F5344CB8AC3E}">
        <p14:creationId xmlns:p14="http://schemas.microsoft.com/office/powerpoint/2010/main" val="935926835"/>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5BD196-C455-4C51-A075-2389269D53D5}"/>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41491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lIns="0" tIns="0" rIns="0" bIns="0" anchor="t"/>
          <a:lstStyle>
            <a:lvl1pPr algn="l">
              <a:defRPr sz="6000"/>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4" name="Text Placeholder 10">
            <a:extLst>
              <a:ext uri="{FF2B5EF4-FFF2-40B4-BE49-F238E27FC236}">
                <a16:creationId xmlns:a16="http://schemas.microsoft.com/office/drawing/2014/main" id="{7C0221E1-0FC8-17D8-E80B-E9C7306975F9}"/>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991595442"/>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62772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4091155327"/>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On Slide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986D543-29D3-C7ED-26F4-3E66206F4312}"/>
              </a:ext>
            </a:extLst>
          </p:cNvPr>
          <p:cNvSpPr>
            <a:spLocks noGrp="1"/>
          </p:cNvSpPr>
          <p:nvPr>
            <p:ph type="pic" sz="quarter" idx="10"/>
          </p:nvPr>
        </p:nvSpPr>
        <p:spPr>
          <a:xfrm>
            <a:off x="0" y="0"/>
            <a:ext cx="12192000" cy="6858000"/>
          </a:xfrm>
        </p:spPr>
        <p:txBody>
          <a:bodyPr anchor="ctr"/>
          <a:lstStyle>
            <a:lvl1pPr marL="0" indent="0" algn="ctr">
              <a:buNone/>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SELECT PLACEHOLDER - INSERT PICTURE FROM THE TEMPLAFY LIBRARY</a:t>
            </a:r>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16842994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98864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2076012232"/>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6247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2019239005"/>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17914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3"/>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tx2"/>
                </a:solidFill>
              </a:defRPr>
            </a:lvl1pPr>
          </a:lstStyle>
          <a:p>
            <a:r>
              <a:rPr lang="en-GB" noProof="0"/>
              <a:t>CLICK TO EDIT MASTER TITLE STYLE</a:t>
            </a:r>
          </a:p>
        </p:txBody>
      </p:sp>
    </p:spTree>
    <p:extLst>
      <p:ext uri="{BB962C8B-B14F-4D97-AF65-F5344CB8AC3E}">
        <p14:creationId xmlns:p14="http://schemas.microsoft.com/office/powerpoint/2010/main" val="3479811165"/>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385958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178285" y="1247775"/>
            <a:ext cx="5825027" cy="4691063"/>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185999" y="1247776"/>
            <a:ext cx="5825027" cy="4691062"/>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a:extLst>
              <a:ext uri="{FF2B5EF4-FFF2-40B4-BE49-F238E27FC236}">
                <a16:creationId xmlns:a16="http://schemas.microsoft.com/office/drawing/2014/main" id="{3409265A-3768-42F1-AC5F-FED9C8F9AB4F}"/>
              </a:ext>
            </a:extLst>
          </p:cNvPr>
          <p:cNvSpPr>
            <a:spLocks noGrp="1"/>
          </p:cNvSpPr>
          <p:nvPr>
            <p:ph type="ftr" sz="quarter" idx="11"/>
          </p:nvPr>
        </p:nvSpPr>
        <p:spPr/>
        <p:txBody>
          <a:bodyPr lIns="0" tIns="0" rIns="0" bIns="0"/>
          <a:lstStyle/>
          <a:p>
            <a:endParaRPr lang="en-GB" noProof="0"/>
          </a:p>
        </p:txBody>
      </p:sp>
      <p:sp>
        <p:nvSpPr>
          <p:cNvPr id="5" name="Text Placeholder 10">
            <a:extLst>
              <a:ext uri="{FF2B5EF4-FFF2-40B4-BE49-F238E27FC236}">
                <a16:creationId xmlns:a16="http://schemas.microsoft.com/office/drawing/2014/main" id="{113A633E-56AA-4F2C-79DE-C89E76E5DC83}"/>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4049151202"/>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362525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179388" y="1247776"/>
            <a:ext cx="5824537" cy="587975"/>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2014538"/>
            <a:ext cx="5824537" cy="3924299"/>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186488" y="1247778"/>
            <a:ext cx="5824538" cy="587974"/>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488" y="2014538"/>
            <a:ext cx="5824537" cy="3924299"/>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a:extLst>
              <a:ext uri="{FF2B5EF4-FFF2-40B4-BE49-F238E27FC236}">
                <a16:creationId xmlns:a16="http://schemas.microsoft.com/office/drawing/2014/main" id="{ADD1A065-0196-4A19-BA11-27E97201D271}"/>
              </a:ext>
            </a:extLst>
          </p:cNvPr>
          <p:cNvSpPr>
            <a:spLocks noGrp="1"/>
          </p:cNvSpPr>
          <p:nvPr>
            <p:ph type="ftr" sz="quarter" idx="11"/>
          </p:nvPr>
        </p:nvSpPr>
        <p:spPr/>
        <p:txBody>
          <a:bodyPr lIns="0" tIns="0" rIns="0" bIns="0"/>
          <a:lstStyle/>
          <a:p>
            <a:endParaRPr lang="en-GB" noProof="0"/>
          </a:p>
        </p:txBody>
      </p:sp>
      <p:sp>
        <p:nvSpPr>
          <p:cNvPr id="12" name="Title 1">
            <a:extLst>
              <a:ext uri="{FF2B5EF4-FFF2-40B4-BE49-F238E27FC236}">
                <a16:creationId xmlns:a16="http://schemas.microsoft.com/office/drawing/2014/main" id="{167CD425-3196-4337-88AA-2CB208963CA6}"/>
              </a:ext>
            </a:extLst>
          </p:cNvPr>
          <p:cNvSpPr>
            <a:spLocks noGrp="1"/>
          </p:cNvSpPr>
          <p:nvPr>
            <p:ph type="title" hasCustomPrompt="1"/>
          </p:nvPr>
        </p:nvSpPr>
        <p:spPr>
          <a:xfrm>
            <a:off x="179388" y="179388"/>
            <a:ext cx="11831637" cy="709612"/>
          </a:xfrm>
        </p:spPr>
        <p:txBody>
          <a:bodyPr lIns="0" tIns="0" rIns="0" bIns="0"/>
          <a:lstStyle>
            <a:lvl1pPr>
              <a:defRPr cap="none"/>
            </a:lvl1pPr>
          </a:lstStyle>
          <a:p>
            <a:r>
              <a:rPr lang="en-GB" noProof="0"/>
              <a:t>Click to edit master title style</a:t>
            </a:r>
          </a:p>
        </p:txBody>
      </p:sp>
      <p:sp>
        <p:nvSpPr>
          <p:cNvPr id="2" name="Text Placeholder 10">
            <a:extLst>
              <a:ext uri="{FF2B5EF4-FFF2-40B4-BE49-F238E27FC236}">
                <a16:creationId xmlns:a16="http://schemas.microsoft.com/office/drawing/2014/main" id="{E2978D24-8B62-D84D-924E-2158D2EF18E8}"/>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806791131"/>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56606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3" name="Text Placeholder 10">
            <a:extLst>
              <a:ext uri="{FF2B5EF4-FFF2-40B4-BE49-F238E27FC236}">
                <a16:creationId xmlns:a16="http://schemas.microsoft.com/office/drawing/2014/main" id="{77E82F74-7F76-22F7-8534-542852DCBD85}"/>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501848175"/>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03979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Museo Sans 100"/>
              <a:ea typeface="+mj-ea"/>
              <a:cs typeface="+mj-cs"/>
              <a:sym typeface="Museo Sans 100"/>
            </a:endParaRP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2" name="Text Placeholder 10">
            <a:extLst>
              <a:ext uri="{FF2B5EF4-FFF2-40B4-BE49-F238E27FC236}">
                <a16:creationId xmlns:a16="http://schemas.microsoft.com/office/drawing/2014/main" id="{8AA6C233-6079-5344-D558-F7C6DBD15F08}"/>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586164886"/>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84208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lIns="0" tIns="0" rIns="0" bIns="0" anchor="t">
            <a:noAutofit/>
          </a:bodyPr>
          <a:lstStyle>
            <a:lvl1pPr>
              <a:defRPr sz="4400" cap="none"/>
            </a:lvl1pPr>
          </a:lstStyle>
          <a:p>
            <a:r>
              <a:rPr lang="en-GB"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rm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a:extLst>
              <a:ext uri="{FF2B5EF4-FFF2-40B4-BE49-F238E27FC236}">
                <a16:creationId xmlns:a16="http://schemas.microsoft.com/office/drawing/2014/main" id="{0FD8C934-877C-4184-995F-BE5A37F50D49}"/>
              </a:ext>
            </a:extLst>
          </p:cNvPr>
          <p:cNvSpPr>
            <a:spLocks noGrp="1"/>
          </p:cNvSpPr>
          <p:nvPr>
            <p:ph type="ftr" sz="quarter" idx="11"/>
          </p:nvPr>
        </p:nvSpPr>
        <p:spPr/>
        <p:txBody>
          <a:bodyPr lIns="0" tIns="0" rIns="0" bIns="0"/>
          <a:lstStyle/>
          <a:p>
            <a:endParaRPr lang="en-GB" noProof="0"/>
          </a:p>
        </p:txBody>
      </p:sp>
      <p:sp>
        <p:nvSpPr>
          <p:cNvPr id="5" name="Text Placeholder 10">
            <a:extLst>
              <a:ext uri="{FF2B5EF4-FFF2-40B4-BE49-F238E27FC236}">
                <a16:creationId xmlns:a16="http://schemas.microsoft.com/office/drawing/2014/main" id="{6A531A6A-93F5-6729-CBE8-6B49CF4C0DE8}"/>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482959321"/>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90625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lIns="0" tIns="0" rIns="0" bIns="0" anchor="t">
            <a:normAutofit/>
          </a:bodyPr>
          <a:lstStyle>
            <a:lvl1pPr>
              <a:defRPr sz="4400" cap="none"/>
            </a:lvl1pPr>
          </a:lstStyle>
          <a:p>
            <a:r>
              <a:rPr lang="en-GB"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a:extLst>
              <a:ext uri="{FF2B5EF4-FFF2-40B4-BE49-F238E27FC236}">
                <a16:creationId xmlns:a16="http://schemas.microsoft.com/office/drawing/2014/main" id="{C0362777-4F6F-421D-AAF2-D93BBFE6C727}"/>
              </a:ext>
            </a:extLst>
          </p:cNvPr>
          <p:cNvSpPr>
            <a:spLocks noGrp="1"/>
          </p:cNvSpPr>
          <p:nvPr>
            <p:ph type="ftr" sz="quarter" idx="11"/>
          </p:nvPr>
        </p:nvSpPr>
        <p:spPr/>
        <p:txBody>
          <a:bodyPr lIns="0" tIns="0" rIns="0" bIns="0"/>
          <a:lstStyle/>
          <a:p>
            <a:endParaRPr lang="en-GB"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lstStyle>
            <a:lvl1pPr>
              <a:defRPr/>
            </a:lvl1pPr>
          </a:lstStyle>
          <a:p>
            <a:r>
              <a:rPr lang="en-GB" noProof="0"/>
              <a:t>Click to select placeholder - insert picture from the Templafy library</a:t>
            </a:r>
          </a:p>
        </p:txBody>
      </p:sp>
      <p:sp>
        <p:nvSpPr>
          <p:cNvPr id="3" name="Text Placeholder 10">
            <a:extLst>
              <a:ext uri="{FF2B5EF4-FFF2-40B4-BE49-F238E27FC236}">
                <a16:creationId xmlns:a16="http://schemas.microsoft.com/office/drawing/2014/main" id="{59E06CC2-B1CF-C436-EC1E-5B7E09E4C14D}"/>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3448071587"/>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378450"/>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GB" sz="900" noProof="0">
                <a:solidFill>
                  <a:schemeClr val="tx1"/>
                </a:solidFill>
              </a:rPr>
              <a:t>© 2023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pic>
        <p:nvPicPr>
          <p:cNvPr id="4" name="Picture 3">
            <a:extLst>
              <a:ext uri="{FF2B5EF4-FFF2-40B4-BE49-F238E27FC236}">
                <a16:creationId xmlns:a16="http://schemas.microsoft.com/office/drawing/2014/main" id="{71D867A3-E841-4B3A-89B4-573AB73EF29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593007544"/>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tx2"/>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6" name="Rectangle 5">
            <a:extLst>
              <a:ext uri="{FF2B5EF4-FFF2-40B4-BE49-F238E27FC236}">
                <a16:creationId xmlns:a16="http://schemas.microsoft.com/office/drawing/2014/main" id="{42798214-B7F0-12C7-6225-4ED36684A252}"/>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dirty="0"/>
          </a:p>
        </p:txBody>
      </p:sp>
    </p:spTree>
    <p:extLst>
      <p:ext uri="{BB962C8B-B14F-4D97-AF65-F5344CB8AC3E}">
        <p14:creationId xmlns:p14="http://schemas.microsoft.com/office/powerpoint/2010/main" val="8700799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304246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vert="horz" lIns="0" tIns="0" rIns="0" bIns="0">
            <a:normAutofit/>
          </a:bodyPr>
          <a:lstStyle>
            <a:lvl1pPr rtl="0">
              <a:defRPr sz="3200"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47775"/>
            <a:ext cx="11831639" cy="4691062"/>
          </a:xfrm>
        </p:spPr>
        <p:txBody>
          <a:bodyPr lIns="0" tIns="0" rIns="0" bIns="0"/>
          <a:lstStyle>
            <a:lvl1pPr rtl="0">
              <a:defRPr/>
            </a:lvl1pPr>
            <a:lvl2pPr rtl="0">
              <a:defRPr/>
            </a:lvl2pPr>
            <a:lvl3pPr rtl="0">
              <a:defRPr/>
            </a:lvl3pPr>
            <a:lvl4pPr rtl="0">
              <a:defRPr/>
            </a:lvl4pPr>
            <a:lvl5pPr rtl="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663570831"/>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56606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1314123098"/>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6" name="Slide Number Placeholder 5">
            <a:extLst>
              <a:ext uri="{FF2B5EF4-FFF2-40B4-BE49-F238E27FC236}">
                <a16:creationId xmlns:a16="http://schemas.microsoft.com/office/drawing/2014/main" id="{E6F7DE21-2FF0-4DAB-B87A-6AEB184B3024}"/>
              </a:ext>
            </a:extLst>
          </p:cNvPr>
          <p:cNvSpPr>
            <a:spLocks noGrp="1"/>
          </p:cNvSpPr>
          <p:nvPr>
            <p:ph type="sldNum" sz="quarter" idx="12"/>
          </p:nvPr>
        </p:nvSpPr>
        <p:spPr/>
        <p:txBody>
          <a:bodyPr lIns="0" tIns="0" rIns="0" bIns="0"/>
          <a:lstStyle/>
          <a:p>
            <a:fld id="{ABB6D191-819E-455F-BC39-F2381519C0C1}" type="slidenum">
              <a:rPr lang="en-GB" smtClean="0"/>
              <a:t>‹#›</a:t>
            </a:fld>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2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2382127184"/>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747D933-FA93-44C8-A1BB-C39682834637}"/>
              </a:ext>
            </a:extLst>
          </p:cNvPr>
          <p:cNvSpPr/>
          <p:nvPr/>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95029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a:latin typeface="Museo Sans 100"/>
              <a:ea typeface="+mj-ea"/>
              <a:cs typeface="+mj-cs"/>
              <a:sym typeface="Museo Sans 100"/>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80" cy="349250"/>
          </a:xfrm>
        </p:spPr>
        <p:txBody>
          <a:bodyPr lIns="0" tIns="0" rIns="0" bIns="0">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pic>
        <p:nvPicPr>
          <p:cNvPr id="14" name="Picture 13" descr="A close up of a logo&#10;&#10;Description automatically generated">
            <a:extLst>
              <a:ext uri="{FF2B5EF4-FFF2-40B4-BE49-F238E27FC236}">
                <a16:creationId xmlns:a16="http://schemas.microsoft.com/office/drawing/2014/main" id="{9DB3099D-80BF-456D-9D43-9E3FC88094A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1654" r="7536" b="21822"/>
          <a:stretch/>
        </p:blipFill>
        <p:spPr>
          <a:xfrm>
            <a:off x="10428634" y="6236494"/>
            <a:ext cx="1618109" cy="478631"/>
          </a:xfrm>
          <a:prstGeom prst="rect">
            <a:avLst/>
          </a:prstGeom>
        </p:spPr>
      </p:pic>
      <p:sp>
        <p:nvSpPr>
          <p:cNvPr id="10" name="Title 1">
            <a:extLst>
              <a:ext uri="{FF2B5EF4-FFF2-40B4-BE49-F238E27FC236}">
                <a16:creationId xmlns:a16="http://schemas.microsoft.com/office/drawing/2014/main" id="{FEBB6DFB-8795-4A35-B6E9-764C4B0B3556}"/>
              </a:ext>
            </a:extLst>
          </p:cNvPr>
          <p:cNvSpPr>
            <a:spLocks noGrp="1"/>
          </p:cNvSpPr>
          <p:nvPr>
            <p:ph type="ctrTitle" idx="4294967295"/>
          </p:nvPr>
        </p:nvSpPr>
        <p:spPr>
          <a:xfrm>
            <a:off x="885668" y="1691464"/>
            <a:ext cx="6741079" cy="2387600"/>
          </a:xfrm>
        </p:spPr>
        <p:txBody>
          <a:bodyPr/>
          <a:lstStyle/>
          <a:p>
            <a:endParaRPr lang="en-GB"/>
          </a:p>
        </p:txBody>
      </p:sp>
    </p:spTree>
    <p:extLst>
      <p:ext uri="{BB962C8B-B14F-4D97-AF65-F5344CB8AC3E}">
        <p14:creationId xmlns:p14="http://schemas.microsoft.com/office/powerpoint/2010/main" val="39466159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58">
          <p15:clr>
            <a:srgbClr val="FBAE40"/>
          </p15:clr>
        </p15:guide>
        <p15:guide id="2" pos="4804">
          <p15:clr>
            <a:srgbClr val="FBAE40"/>
          </p15:clr>
        </p15:guide>
        <p15:guide id="4" orient="horz" pos="113">
          <p15:clr>
            <a:srgbClr val="FBAE40"/>
          </p15:clr>
        </p15:guide>
        <p15:guide id="5" orient="horz" pos="674">
          <p15:clr>
            <a:srgbClr val="FBAE40"/>
          </p15:clr>
        </p15:guide>
        <p15:guide id="6" orient="horz" pos="2568">
          <p15:clr>
            <a:srgbClr val="FBAE40"/>
          </p15:clr>
        </p15:guide>
        <p15:guide id="7" orient="horz" pos="2160">
          <p15:clr>
            <a:srgbClr val="FBAE40"/>
          </p15:clr>
        </p15:guide>
        <p15:guide id="8" orient="horz" pos="106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F5B25C6-580C-4EB0-BC27-B245610EC45F}"/>
              </a:ext>
            </a:extLst>
          </p:cNvPr>
          <p:cNvSpPr>
            <a:spLocks noGrp="1"/>
          </p:cNvSpPr>
          <p:nvPr>
            <p:ph type="pic" sz="quarter" idx="10" hasCustomPrompt="1"/>
          </p:nvPr>
        </p:nvSpPr>
        <p:spPr>
          <a:xfrm>
            <a:off x="0" y="0"/>
            <a:ext cx="12192000" cy="6858000"/>
          </a:xfrm>
        </p:spPr>
        <p:txBody>
          <a:bodyPr lIns="0" tIns="1800000" rIns="0" bIns="0" anchor="ctr" anchorCtr="1"/>
          <a:lstStyle>
            <a:lvl1pPr marL="0" indent="0" algn="ctr">
              <a:buNone/>
              <a:defRPr/>
            </a:lvl1pPr>
          </a:lstStyle>
          <a:p>
            <a:r>
              <a:rPr lang="en-GB" noProof="0"/>
              <a:t>CLICK TO SELECT PLACEHOLDER - INSERT PICTURE FROM THE TEMPLAFY LIBRARY</a:t>
            </a:r>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36439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099"/>
            <a:ext cx="6741079" cy="2390775"/>
          </a:xfrm>
        </p:spPr>
        <p:txBody>
          <a:bodyPr anchor="t"/>
          <a:lstStyle>
            <a:lvl1pPr algn="l">
              <a:defRPr sz="6000">
                <a:solidFill>
                  <a:schemeClr val="bg2"/>
                </a:solidFill>
              </a:defRPr>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Tree>
    <p:extLst>
      <p:ext uri="{BB962C8B-B14F-4D97-AF65-F5344CB8AC3E}">
        <p14:creationId xmlns:p14="http://schemas.microsoft.com/office/powerpoint/2010/main" val="2670292748"/>
      </p:ext>
    </p:extLst>
  </p:cSld>
  <p:clrMapOvr>
    <a:masterClrMapping/>
  </p:clrMapOvr>
  <p:extLst>
    <p:ext uri="{DCECCB84-F9BA-43D5-87BE-67443E8EF086}">
      <p15:sldGuideLst xmlns:p15="http://schemas.microsoft.com/office/powerpoint/2012/main">
        <p15:guide id="2" orient="horz" pos="674">
          <p15:clr>
            <a:srgbClr val="FBAE40"/>
          </p15:clr>
        </p15:guide>
        <p15:guide id="3" pos="4806">
          <p15:clr>
            <a:srgbClr val="FBAE40"/>
          </p15:clr>
        </p15:guide>
        <p15:guide id="4" pos="558">
          <p15:clr>
            <a:srgbClr val="FBAE40"/>
          </p15:clr>
        </p15:guide>
        <p15:guide id="7" orient="horz" pos="1064">
          <p15:clr>
            <a:srgbClr val="FBAE40"/>
          </p15:clr>
        </p15:guide>
        <p15:guide id="8" orient="horz" pos="257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5BD196-C455-4C51-A075-2389269D53D5}"/>
              </a:ext>
            </a:extLst>
          </p:cNvPr>
          <p:cNvSpPr/>
          <p:nvPr userDrawn="1"/>
        </p:nvSpPr>
        <p:spPr>
          <a:xfrm>
            <a:off x="890430" y="510885"/>
            <a:ext cx="1312012" cy="45719"/>
          </a:xfrm>
          <a:prstGeom prst="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41491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8AF85F3-5290-4EBA-8B8A-DB6A01B381A6}"/>
              </a:ext>
            </a:extLst>
          </p:cNvPr>
          <p:cNvSpPr>
            <a:spLocks noGrp="1"/>
          </p:cNvSpPr>
          <p:nvPr>
            <p:ph type="ctrTitle" hasCustomPrompt="1"/>
          </p:nvPr>
        </p:nvSpPr>
        <p:spPr>
          <a:xfrm>
            <a:off x="885668" y="1689100"/>
            <a:ext cx="6741079" cy="2389964"/>
          </a:xfrm>
        </p:spPr>
        <p:txBody>
          <a:bodyPr lIns="0" tIns="0" rIns="0" bIns="0" anchor="t"/>
          <a:lstStyle>
            <a:lvl1pPr algn="l">
              <a:defRPr sz="6000"/>
            </a:lvl1pPr>
          </a:lstStyle>
          <a:p>
            <a:r>
              <a:rPr lang="en-GB" noProof="0"/>
              <a:t>CLICK TO EDIT MASTER TITLE STYLE</a:t>
            </a: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3623073554"/>
      </p:ext>
    </p:extLst>
  </p:cSld>
  <p:clrMapOvr>
    <a:masterClrMapping/>
  </p:clrMapOvr>
  <p:extLst>
    <p:ext uri="{DCECCB84-F9BA-43D5-87BE-67443E8EF086}">
      <p15:sldGuideLst xmlns:p15="http://schemas.microsoft.com/office/powerpoint/2012/main">
        <p15:guide id="1" orient="horz" pos="1064">
          <p15:clr>
            <a:srgbClr val="FBAE40"/>
          </p15:clr>
        </p15:guide>
        <p15:guide id="2" orient="horz" pos="674">
          <p15:clr>
            <a:srgbClr val="FBAE40"/>
          </p15:clr>
        </p15:guide>
        <p15:guide id="3" pos="4805">
          <p15:clr>
            <a:srgbClr val="FBAE40"/>
          </p15:clr>
        </p15:guide>
        <p15:guide id="4" pos="558">
          <p15:clr>
            <a:srgbClr val="FBAE40"/>
          </p15:clr>
        </p15:guide>
        <p15:guide id="5" orient="horz" pos="2570">
          <p15:clr>
            <a:srgbClr val="FBAE40"/>
          </p15:clr>
        </p15:guide>
        <p15:guide id="6" orient="horz" pos="396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Header (Blu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62772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1" name="Title 1">
            <a:extLst>
              <a:ext uri="{FF2B5EF4-FFF2-40B4-BE49-F238E27FC236}">
                <a16:creationId xmlns:a16="http://schemas.microsoft.com/office/drawing/2014/main" id="{0CEB10F1-9A99-4B04-99A0-D8E2CAE06AC0}"/>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2996935590"/>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4806">
          <p15:clr>
            <a:srgbClr val="FBAE40"/>
          </p15:clr>
        </p15:guide>
        <p15:guide id="4" pos="558">
          <p15:clr>
            <a:srgbClr val="FBAE40"/>
          </p15:clr>
        </p15:guide>
        <p15:guide id="5" orient="horz" pos="2570">
          <p15:clr>
            <a:srgbClr val="FBAE40"/>
          </p15:clr>
        </p15:guide>
        <p15:guide id="7" orient="horz" pos="374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ection Header (Blue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98864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1">
              <a:lumMod val="100000"/>
            </a:schemeClr>
          </a:solidFill>
          <a:ln w="9525"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7513"/>
            <a:ext cx="6741079" cy="2391551"/>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1177426891"/>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7" orient="horz" pos="374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216247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2">
              <a:lumMod val="100000"/>
            </a:schemeClr>
          </a:solidFill>
          <a:ln w="9525"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bg1"/>
                </a:solidFill>
              </a:defRPr>
            </a:lvl1pPr>
          </a:lstStyle>
          <a:p>
            <a:r>
              <a:rPr lang="en-GB" noProof="0"/>
              <a:t>CLICK TO EDIT MASTER TITLE STYLE</a:t>
            </a:r>
          </a:p>
        </p:txBody>
      </p:sp>
    </p:spTree>
    <p:extLst>
      <p:ext uri="{BB962C8B-B14F-4D97-AF65-F5344CB8AC3E}">
        <p14:creationId xmlns:p14="http://schemas.microsoft.com/office/powerpoint/2010/main" val="827854414"/>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Section Header (Gree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F0D3B3-FB4D-45BC-BE2E-E0ACC1635A4F}"/>
              </a:ext>
            </a:extLst>
          </p:cNvPr>
          <p:cNvGraphicFramePr>
            <a:graphicFrameLocks noChangeAspect="1"/>
          </p:cNvGraphicFramePr>
          <p:nvPr>
            <p:custDataLst>
              <p:tags r:id="rId1"/>
            </p:custDataLst>
            <p:extLst>
              <p:ext uri="{D42A27DB-BD31-4B8C-83A1-F6EECF244321}">
                <p14:modId xmlns:p14="http://schemas.microsoft.com/office/powerpoint/2010/main" val="317914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82F0D3B3-FB4D-45BC-BE2E-E0ACC1635A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D406DB-41A2-4933-86A0-0828F55DE1B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0" i="0" baseline="0">
              <a:latin typeface="Bebas Kai" panose="04050603020B02020204" pitchFamily="82" charset="0"/>
              <a:ea typeface="+mj-ea"/>
              <a:cs typeface="+mj-cs"/>
              <a:sym typeface="Bebas Kai" panose="04050603020B02020204" pitchFamily="82" charset="0"/>
            </a:endParaRPr>
          </a:p>
        </p:txBody>
      </p:sp>
      <p:sp>
        <p:nvSpPr>
          <p:cNvPr id="10" name="Rectangle 9">
            <a:extLst>
              <a:ext uri="{FF2B5EF4-FFF2-40B4-BE49-F238E27FC236}">
                <a16:creationId xmlns:a16="http://schemas.microsoft.com/office/drawing/2014/main" id="{F92D6356-6339-48B3-8B32-2E2AEE29EDEF}"/>
              </a:ext>
            </a:extLst>
          </p:cNvPr>
          <p:cNvSpPr/>
          <p:nvPr/>
        </p:nvSpPr>
        <p:spPr>
          <a:xfrm>
            <a:off x="539749" y="540000"/>
            <a:ext cx="11109600" cy="5398838"/>
          </a:xfrm>
          <a:prstGeom prst="rect">
            <a:avLst/>
          </a:prstGeom>
          <a:solidFill>
            <a:schemeClr val="accent3"/>
          </a:solidFill>
          <a:ln w="9525"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3" name="Subtitle 2">
            <a:extLst>
              <a:ext uri="{FF2B5EF4-FFF2-40B4-BE49-F238E27FC236}">
                <a16:creationId xmlns:a16="http://schemas.microsoft.com/office/drawing/2014/main" id="{FC3B1678-8578-485B-ABDD-36D8CF73E2D8}"/>
              </a:ext>
            </a:extLst>
          </p:cNvPr>
          <p:cNvSpPr>
            <a:spLocks noGrp="1"/>
          </p:cNvSpPr>
          <p:nvPr>
            <p:ph type="subTitle" idx="1" hasCustomPrompt="1"/>
          </p:nvPr>
        </p:nvSpPr>
        <p:spPr>
          <a:xfrm>
            <a:off x="885669" y="1069975"/>
            <a:ext cx="6741079" cy="349250"/>
          </a:xfrm>
        </p:spPr>
        <p:txBody>
          <a:bodyPr lIns="0" tIns="0" rIns="0" bIns="0">
            <a:no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5" name="Footer Placeholder 4">
            <a:extLst>
              <a:ext uri="{FF2B5EF4-FFF2-40B4-BE49-F238E27FC236}">
                <a16:creationId xmlns:a16="http://schemas.microsoft.com/office/drawing/2014/main" id="{75350503-9A42-4D51-8575-D977EFA2937C}"/>
              </a:ext>
            </a:extLst>
          </p:cNvPr>
          <p:cNvSpPr>
            <a:spLocks noGrp="1"/>
          </p:cNvSpPr>
          <p:nvPr>
            <p:ph type="ftr" sz="quarter" idx="11"/>
          </p:nvPr>
        </p:nvSpPr>
        <p:spPr/>
        <p:txBody>
          <a:bodyPr lIns="0" tIns="0" rIns="0" bIns="0"/>
          <a:lstStyle/>
          <a:p>
            <a:endParaRPr lang="en-GB" noProof="0"/>
          </a:p>
        </p:txBody>
      </p:sp>
      <p:sp>
        <p:nvSpPr>
          <p:cNvPr id="6" name="Slide Number Placeholder 5">
            <a:extLst>
              <a:ext uri="{FF2B5EF4-FFF2-40B4-BE49-F238E27FC236}">
                <a16:creationId xmlns:a16="http://schemas.microsoft.com/office/drawing/2014/main" id="{9346F278-8B8A-4874-AB9B-D1092252AB2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9" name="Title 1">
            <a:extLst>
              <a:ext uri="{FF2B5EF4-FFF2-40B4-BE49-F238E27FC236}">
                <a16:creationId xmlns:a16="http://schemas.microsoft.com/office/drawing/2014/main" id="{F170A15B-3A41-426F-B535-FB2163750E8F}"/>
              </a:ext>
            </a:extLst>
          </p:cNvPr>
          <p:cNvSpPr>
            <a:spLocks noGrp="1"/>
          </p:cNvSpPr>
          <p:nvPr>
            <p:ph type="ctrTitle" hasCustomPrompt="1"/>
          </p:nvPr>
        </p:nvSpPr>
        <p:spPr>
          <a:xfrm>
            <a:off x="885668" y="1689100"/>
            <a:ext cx="6741079" cy="2389964"/>
          </a:xfrm>
        </p:spPr>
        <p:txBody>
          <a:bodyPr lIns="0" tIns="0" rIns="0" bIns="0" anchor="t"/>
          <a:lstStyle>
            <a:lvl1pPr algn="l">
              <a:defRPr sz="6000">
                <a:solidFill>
                  <a:schemeClr val="tx2"/>
                </a:solidFill>
              </a:defRPr>
            </a:lvl1pPr>
          </a:lstStyle>
          <a:p>
            <a:r>
              <a:rPr lang="en-GB" noProof="0"/>
              <a:t>CLICK TO EDIT MASTER TITLE STYLE</a:t>
            </a:r>
          </a:p>
        </p:txBody>
      </p:sp>
    </p:spTree>
    <p:extLst>
      <p:ext uri="{BB962C8B-B14F-4D97-AF65-F5344CB8AC3E}">
        <p14:creationId xmlns:p14="http://schemas.microsoft.com/office/powerpoint/2010/main" val="3602168355"/>
      </p:ext>
    </p:extLst>
  </p:cSld>
  <p:clrMapOvr>
    <a:masterClrMapping/>
  </p:clrMapOvr>
  <p:extLst>
    <p:ext uri="{DCECCB84-F9BA-43D5-87BE-67443E8EF086}">
      <p15:sldGuideLst xmlns:p15="http://schemas.microsoft.com/office/powerpoint/2012/main">
        <p15:guide id="1" orient="horz" pos="1063">
          <p15:clr>
            <a:srgbClr val="FBAE40"/>
          </p15:clr>
        </p15:guide>
        <p15:guide id="2" orient="horz" pos="674">
          <p15:clr>
            <a:srgbClr val="FBAE40"/>
          </p15:clr>
        </p15:guide>
        <p15:guide id="3" pos="558">
          <p15:clr>
            <a:srgbClr val="FBAE40"/>
          </p15:clr>
        </p15:guide>
        <p15:guide id="4" pos="4806">
          <p15:clr>
            <a:srgbClr val="FBAE40"/>
          </p15:clr>
        </p15:guide>
        <p15:guide id="5" orient="horz" pos="2570">
          <p15:clr>
            <a:srgbClr val="FBAE40"/>
          </p15:clr>
        </p15:guide>
        <p15:guide id="6" orient="horz" pos="37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Blu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tx2">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dirty="0"/>
          </a:p>
        </p:txBody>
      </p:sp>
    </p:spTree>
    <p:extLst>
      <p:ext uri="{BB962C8B-B14F-4D97-AF65-F5344CB8AC3E}">
        <p14:creationId xmlns:p14="http://schemas.microsoft.com/office/powerpoint/2010/main" val="20198769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9CE876-340E-4FD3-98C6-3988BBCA6E5E}"/>
              </a:ext>
            </a:extLst>
          </p:cNvPr>
          <p:cNvGraphicFramePr>
            <a:graphicFrameLocks noChangeAspect="1"/>
          </p:cNvGraphicFramePr>
          <p:nvPr>
            <p:custDataLst>
              <p:tags r:id="rId1"/>
            </p:custDataLst>
            <p:extLst>
              <p:ext uri="{D42A27DB-BD31-4B8C-83A1-F6EECF244321}">
                <p14:modId xmlns:p14="http://schemas.microsoft.com/office/powerpoint/2010/main" val="385958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3F9CE876-340E-4FD3-98C6-3988BBCA6E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FCA972F-F766-4DED-BFAA-A0D97E14EF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0D9CBCFD-AEF5-4826-A1E8-350015BA3412}"/>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3" name="Content Placeholder 2">
            <a:extLst>
              <a:ext uri="{FF2B5EF4-FFF2-40B4-BE49-F238E27FC236}">
                <a16:creationId xmlns:a16="http://schemas.microsoft.com/office/drawing/2014/main" id="{1267F840-EFC6-4307-BD69-B27B457ED07B}"/>
              </a:ext>
            </a:extLst>
          </p:cNvPr>
          <p:cNvSpPr>
            <a:spLocks noGrp="1"/>
          </p:cNvSpPr>
          <p:nvPr>
            <p:ph sz="half" idx="1"/>
          </p:nvPr>
        </p:nvSpPr>
        <p:spPr>
          <a:xfrm>
            <a:off x="178285" y="1247775"/>
            <a:ext cx="5825027" cy="4691063"/>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a:extLst>
              <a:ext uri="{FF2B5EF4-FFF2-40B4-BE49-F238E27FC236}">
                <a16:creationId xmlns:a16="http://schemas.microsoft.com/office/drawing/2014/main" id="{C92E9254-622E-41C6-B3D0-27C816BBF106}"/>
              </a:ext>
            </a:extLst>
          </p:cNvPr>
          <p:cNvSpPr>
            <a:spLocks noGrp="1"/>
          </p:cNvSpPr>
          <p:nvPr>
            <p:ph sz="half" idx="2"/>
          </p:nvPr>
        </p:nvSpPr>
        <p:spPr>
          <a:xfrm>
            <a:off x="6185999" y="1247776"/>
            <a:ext cx="5825027" cy="4691062"/>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a:extLst>
              <a:ext uri="{FF2B5EF4-FFF2-40B4-BE49-F238E27FC236}">
                <a16:creationId xmlns:a16="http://schemas.microsoft.com/office/drawing/2014/main" id="{3409265A-3768-42F1-AC5F-FED9C8F9AB4F}"/>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4C172E53-4DB8-4D7A-B888-012956DB7275}"/>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4121222404"/>
      </p:ext>
    </p:extLst>
  </p:cSld>
  <p:clrMapOvr>
    <a:masterClrMapping/>
  </p:clrMapOvr>
  <p:extLst>
    <p:ext uri="{DCECCB84-F9BA-43D5-87BE-67443E8EF086}">
      <p15:sldGuideLst xmlns:p15="http://schemas.microsoft.com/office/powerpoint/2012/main">
        <p15:guide id="1" pos="3783">
          <p15:clr>
            <a:srgbClr val="FBAE40"/>
          </p15:clr>
        </p15:guide>
        <p15:guide id="2" pos="3897">
          <p15:clr>
            <a:srgbClr val="FBAE40"/>
          </p15:clr>
        </p15:guide>
        <p15:guide id="3" orient="horz" pos="113">
          <p15:clr>
            <a:srgbClr val="FBAE40"/>
          </p15:clr>
        </p15:guide>
        <p15:guide id="4" orient="horz" pos="786">
          <p15:clr>
            <a:srgbClr val="FBAE40"/>
          </p15:clr>
        </p15:guide>
        <p15:guide id="5" orient="horz" pos="3741">
          <p15:clr>
            <a:srgbClr val="FBAE40"/>
          </p15:clr>
        </p15:guide>
        <p15:guide id="6" orient="horz" pos="1158">
          <p15:clr>
            <a:srgbClr val="FBAE40"/>
          </p15:clr>
        </p15:guide>
        <p15:guide id="7" orient="horz" pos="12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88AF8EE-35AC-49E3-9930-1BDCACEFD4B1}"/>
              </a:ext>
            </a:extLst>
          </p:cNvPr>
          <p:cNvGraphicFramePr>
            <a:graphicFrameLocks noChangeAspect="1"/>
          </p:cNvGraphicFramePr>
          <p:nvPr>
            <p:custDataLst>
              <p:tags r:id="rId1"/>
            </p:custDataLst>
            <p:extLst>
              <p:ext uri="{D42A27DB-BD31-4B8C-83A1-F6EECF244321}">
                <p14:modId xmlns:p14="http://schemas.microsoft.com/office/powerpoint/2010/main" val="362525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188AF8EE-35AC-49E3-9930-1BDCACEFD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B4B1AF4-DDE1-4321-AD46-F0E1D9240B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3" name="Text Placeholder 2">
            <a:extLst>
              <a:ext uri="{FF2B5EF4-FFF2-40B4-BE49-F238E27FC236}">
                <a16:creationId xmlns:a16="http://schemas.microsoft.com/office/drawing/2014/main" id="{9E03F3A1-CCD7-4F8F-9CB5-0C0C93A2BAED}"/>
              </a:ext>
            </a:extLst>
          </p:cNvPr>
          <p:cNvSpPr>
            <a:spLocks noGrp="1"/>
          </p:cNvSpPr>
          <p:nvPr>
            <p:ph type="body" idx="1"/>
          </p:nvPr>
        </p:nvSpPr>
        <p:spPr>
          <a:xfrm>
            <a:off x="179388" y="1247776"/>
            <a:ext cx="5824537" cy="587975"/>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4" name="Content Placeholder 3">
            <a:extLst>
              <a:ext uri="{FF2B5EF4-FFF2-40B4-BE49-F238E27FC236}">
                <a16:creationId xmlns:a16="http://schemas.microsoft.com/office/drawing/2014/main" id="{6F7156F0-9E20-4DB3-A7D9-421A0EEF76D6}"/>
              </a:ext>
            </a:extLst>
          </p:cNvPr>
          <p:cNvSpPr>
            <a:spLocks noGrp="1"/>
          </p:cNvSpPr>
          <p:nvPr>
            <p:ph sz="half" idx="2"/>
          </p:nvPr>
        </p:nvSpPr>
        <p:spPr>
          <a:xfrm>
            <a:off x="179388" y="2014538"/>
            <a:ext cx="5824537" cy="3924299"/>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 Placeholder 4">
            <a:extLst>
              <a:ext uri="{FF2B5EF4-FFF2-40B4-BE49-F238E27FC236}">
                <a16:creationId xmlns:a16="http://schemas.microsoft.com/office/drawing/2014/main" id="{6FCA77FD-9ACC-49B7-B506-B3E7BD7EDC92}"/>
              </a:ext>
            </a:extLst>
          </p:cNvPr>
          <p:cNvSpPr>
            <a:spLocks noGrp="1"/>
          </p:cNvSpPr>
          <p:nvPr>
            <p:ph type="body" sz="quarter" idx="3"/>
          </p:nvPr>
        </p:nvSpPr>
        <p:spPr>
          <a:xfrm>
            <a:off x="6186488" y="1247778"/>
            <a:ext cx="5824538" cy="587974"/>
          </a:xfrm>
        </p:spPr>
        <p:txBody>
          <a:bodyPr lIns="0" tIns="0" rIns="0" bIns="0" anchor="b"/>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Content Placeholder 5">
            <a:extLst>
              <a:ext uri="{FF2B5EF4-FFF2-40B4-BE49-F238E27FC236}">
                <a16:creationId xmlns:a16="http://schemas.microsoft.com/office/drawing/2014/main" id="{B2AB2582-7062-4BC6-9D19-F0253BC1B6A2}"/>
              </a:ext>
            </a:extLst>
          </p:cNvPr>
          <p:cNvSpPr>
            <a:spLocks noGrp="1"/>
          </p:cNvSpPr>
          <p:nvPr>
            <p:ph sz="quarter" idx="4"/>
          </p:nvPr>
        </p:nvSpPr>
        <p:spPr>
          <a:xfrm>
            <a:off x="6186488" y="2014538"/>
            <a:ext cx="5824537" cy="3924299"/>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Footer Placeholder 7">
            <a:extLst>
              <a:ext uri="{FF2B5EF4-FFF2-40B4-BE49-F238E27FC236}">
                <a16:creationId xmlns:a16="http://schemas.microsoft.com/office/drawing/2014/main" id="{ADD1A065-0196-4A19-BA11-27E97201D271}"/>
              </a:ext>
            </a:extLst>
          </p:cNvPr>
          <p:cNvSpPr>
            <a:spLocks noGrp="1"/>
          </p:cNvSpPr>
          <p:nvPr>
            <p:ph type="ftr" sz="quarter" idx="11"/>
          </p:nvPr>
        </p:nvSpPr>
        <p:spPr/>
        <p:txBody>
          <a:bodyPr lIns="0" tIns="0" rIns="0" bIns="0"/>
          <a:lstStyle/>
          <a:p>
            <a:endParaRPr lang="en-GB" noProof="0"/>
          </a:p>
        </p:txBody>
      </p:sp>
      <p:sp>
        <p:nvSpPr>
          <p:cNvPr id="9" name="Slide Number Placeholder 8">
            <a:extLst>
              <a:ext uri="{FF2B5EF4-FFF2-40B4-BE49-F238E27FC236}">
                <a16:creationId xmlns:a16="http://schemas.microsoft.com/office/drawing/2014/main" id="{B599CBCB-3A71-49DF-A2FE-693C98D8DFA8}"/>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2" name="Title 1">
            <a:extLst>
              <a:ext uri="{FF2B5EF4-FFF2-40B4-BE49-F238E27FC236}">
                <a16:creationId xmlns:a16="http://schemas.microsoft.com/office/drawing/2014/main" id="{167CD425-3196-4337-88AA-2CB208963CA6}"/>
              </a:ext>
            </a:extLst>
          </p:cNvPr>
          <p:cNvSpPr>
            <a:spLocks noGrp="1"/>
          </p:cNvSpPr>
          <p:nvPr>
            <p:ph type="title" hasCustomPrompt="1"/>
          </p:nvPr>
        </p:nvSpPr>
        <p:spPr>
          <a:xfrm>
            <a:off x="179388" y="179388"/>
            <a:ext cx="11831637" cy="709612"/>
          </a:xfrm>
        </p:spPr>
        <p:txBody>
          <a:bodyPr lIns="0" tIns="0" rIns="0" bIns="0"/>
          <a:lstStyle>
            <a:lvl1pPr>
              <a:defRPr cap="none"/>
            </a:lvl1pPr>
          </a:lstStyle>
          <a:p>
            <a:r>
              <a:rPr lang="en-GB" noProof="0"/>
              <a:t>Click to edit master title style</a:t>
            </a:r>
          </a:p>
        </p:txBody>
      </p:sp>
    </p:spTree>
    <p:extLst>
      <p:ext uri="{BB962C8B-B14F-4D97-AF65-F5344CB8AC3E}">
        <p14:creationId xmlns:p14="http://schemas.microsoft.com/office/powerpoint/2010/main" val="1448680329"/>
      </p:ext>
    </p:extLst>
  </p:cSld>
  <p:clrMapOvr>
    <a:masterClrMapping/>
  </p:clrMapOvr>
  <p:extLst>
    <p:ext uri="{DCECCB84-F9BA-43D5-87BE-67443E8EF086}">
      <p15:sldGuideLst xmlns:p15="http://schemas.microsoft.com/office/powerpoint/2012/main">
        <p15:guide id="2" orient="horz" pos="786">
          <p15:clr>
            <a:srgbClr val="FBAE40"/>
          </p15:clr>
        </p15:guide>
        <p15:guide id="3" orient="horz" pos="113">
          <p15:clr>
            <a:srgbClr val="FBAE40"/>
          </p15:clr>
        </p15:guide>
        <p15:guide id="5" pos="3783">
          <p15:clr>
            <a:srgbClr val="FBAE40"/>
          </p15:clr>
        </p15:guide>
        <p15:guide id="6" pos="3897">
          <p15:clr>
            <a:srgbClr val="FBAE40"/>
          </p15:clr>
        </p15:guide>
        <p15:guide id="9" orient="horz" pos="1269">
          <p15:clr>
            <a:srgbClr val="FBAE40"/>
          </p15:clr>
        </p15:guide>
        <p15:guide id="10" orient="horz" pos="3741">
          <p15:clr>
            <a:srgbClr val="FBAE40"/>
          </p15:clr>
        </p15:guide>
        <p15:guide id="11" orient="horz" pos="115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356606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lIns="0" tIns="0" rIns="0" bIns="0"/>
          <a:lstStyle>
            <a:lvl1pPr>
              <a:defRPr cap="none"/>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3145803390"/>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03979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a:latin typeface="Museo Sans 100"/>
              <a:ea typeface="+mj-ea"/>
              <a:cs typeface="+mj-cs"/>
              <a:sym typeface="Museo Sans 100"/>
            </a:endParaRP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p:txBody>
          <a:bodyPr lIns="0" tIns="0" rIns="0" bIns="0"/>
          <a:lstStyle/>
          <a:p>
            <a:endParaRPr lang="en-GB" noProof="0"/>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2580535913"/>
      </p:ext>
    </p:extLst>
  </p:cSld>
  <p:clrMapOvr>
    <a:masterClrMapping/>
  </p:clrMapOvr>
  <p:extLst>
    <p:ext uri="{DCECCB84-F9BA-43D5-87BE-67443E8EF086}">
      <p15:sldGuideLst xmlns:p15="http://schemas.microsoft.com/office/powerpoint/2012/main">
        <p15:guide id="1" orient="horz" pos="114">
          <p15:clr>
            <a:srgbClr val="FBAE40"/>
          </p15:clr>
        </p15:guide>
        <p15:guide id="2" orient="horz" pos="786">
          <p15:clr>
            <a:srgbClr val="FBAE40"/>
          </p15:clr>
        </p15:guide>
        <p15:guide id="3" orient="horz" pos="1155">
          <p15:clr>
            <a:srgbClr val="FBAE40"/>
          </p15:clr>
        </p15:guide>
        <p15:guide id="4" orient="horz" pos="1269">
          <p15:clr>
            <a:srgbClr val="FBAE40"/>
          </p15:clr>
        </p15:guide>
        <p15:guide id="5" pos="3783">
          <p15:clr>
            <a:srgbClr val="FBAE40"/>
          </p15:clr>
        </p15:guide>
        <p15:guide id="6" pos="3897">
          <p15:clr>
            <a:srgbClr val="FBAE40"/>
          </p15:clr>
        </p15:guide>
        <p15:guide id="7" orient="horz" pos="374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DA8D5C-4ABE-4CBA-9D0A-B520E820C1C4}"/>
              </a:ext>
            </a:extLst>
          </p:cNvPr>
          <p:cNvGraphicFramePr>
            <a:graphicFrameLocks noChangeAspect="1"/>
          </p:cNvGraphicFramePr>
          <p:nvPr>
            <p:custDataLst>
              <p:tags r:id="rId1"/>
            </p:custDataLst>
            <p:extLst>
              <p:ext uri="{D42A27DB-BD31-4B8C-83A1-F6EECF244321}">
                <p14:modId xmlns:p14="http://schemas.microsoft.com/office/powerpoint/2010/main" val="84208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CDA8D5C-4ABE-4CBA-9D0A-B520E820C1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30DE0B9-1D37-413A-9F14-DFA5702F73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7923FFFA-0F55-4A69-8CBA-48FD568E0D7A}"/>
              </a:ext>
            </a:extLst>
          </p:cNvPr>
          <p:cNvSpPr>
            <a:spLocks noGrp="1"/>
          </p:cNvSpPr>
          <p:nvPr>
            <p:ph type="title" hasCustomPrompt="1"/>
          </p:nvPr>
        </p:nvSpPr>
        <p:spPr>
          <a:xfrm>
            <a:off x="179388" y="179387"/>
            <a:ext cx="5824536" cy="1654175"/>
          </a:xfrm>
        </p:spPr>
        <p:txBody>
          <a:bodyPr lIns="0" tIns="0" rIns="0" bIns="0" anchor="t">
            <a:noAutofit/>
          </a:bodyPr>
          <a:lstStyle>
            <a:lvl1pPr>
              <a:defRPr sz="4400" cap="none"/>
            </a:lvl1pPr>
          </a:lstStyle>
          <a:p>
            <a:r>
              <a:rPr lang="en-GB" noProof="0"/>
              <a:t>Click to edit master title style</a:t>
            </a:r>
          </a:p>
        </p:txBody>
      </p:sp>
      <p:sp>
        <p:nvSpPr>
          <p:cNvPr id="3" name="Content Placeholder 2">
            <a:extLst>
              <a:ext uri="{FF2B5EF4-FFF2-40B4-BE49-F238E27FC236}">
                <a16:creationId xmlns:a16="http://schemas.microsoft.com/office/drawing/2014/main" id="{B15D8B6A-7A61-408F-BDB0-38567CF8EC11}"/>
              </a:ext>
            </a:extLst>
          </p:cNvPr>
          <p:cNvSpPr>
            <a:spLocks noGrp="1"/>
          </p:cNvSpPr>
          <p:nvPr>
            <p:ph idx="1"/>
          </p:nvPr>
        </p:nvSpPr>
        <p:spPr>
          <a:xfrm>
            <a:off x="6186489" y="188014"/>
            <a:ext cx="5824536" cy="5759451"/>
          </a:xfrm>
        </p:spPr>
        <p:txBody>
          <a:bodyPr lIns="0" tIns="0" rIns="0" bIns="0">
            <a:norm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ext Placeholder 3">
            <a:extLst>
              <a:ext uri="{FF2B5EF4-FFF2-40B4-BE49-F238E27FC236}">
                <a16:creationId xmlns:a16="http://schemas.microsoft.com/office/drawing/2014/main" id="{08DDAE1C-D6AE-48B7-9F5A-D6622B24751D}"/>
              </a:ext>
            </a:extLst>
          </p:cNvPr>
          <p:cNvSpPr>
            <a:spLocks noGrp="1"/>
          </p:cNvSpPr>
          <p:nvPr>
            <p:ph type="body" sz="half" idx="2"/>
          </p:nvPr>
        </p:nvSpPr>
        <p:spPr>
          <a:xfrm>
            <a:off x="179387" y="2014538"/>
            <a:ext cx="5824536" cy="392430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a:extLst>
              <a:ext uri="{FF2B5EF4-FFF2-40B4-BE49-F238E27FC236}">
                <a16:creationId xmlns:a16="http://schemas.microsoft.com/office/drawing/2014/main" id="{0FD8C934-877C-4184-995F-BE5A37F50D49}"/>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940C6EDE-4618-41A4-9573-E028EF41F681}"/>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Tree>
    <p:extLst>
      <p:ext uri="{BB962C8B-B14F-4D97-AF65-F5344CB8AC3E}">
        <p14:creationId xmlns:p14="http://schemas.microsoft.com/office/powerpoint/2010/main" val="607754217"/>
      </p:ext>
    </p:extLst>
  </p:cSld>
  <p:clrMapOvr>
    <a:masterClrMapping/>
  </p:clrMapOvr>
  <p:extLst>
    <p:ext uri="{DCECCB84-F9BA-43D5-87BE-67443E8EF086}">
      <p15:sldGuideLst xmlns:p15="http://schemas.microsoft.com/office/powerpoint/2012/main">
        <p15:guide id="3" orient="horz" pos="113">
          <p15:clr>
            <a:srgbClr val="FBAE40"/>
          </p15:clr>
        </p15:guide>
        <p15:guide id="6" orient="horz" pos="1155">
          <p15:clr>
            <a:srgbClr val="FBAE40"/>
          </p15:clr>
        </p15:guide>
        <p15:guide id="7" orient="horz" pos="1269">
          <p15:clr>
            <a:srgbClr val="FBAE40"/>
          </p15:clr>
        </p15:guide>
        <p15:guide id="8" pos="3783">
          <p15:clr>
            <a:srgbClr val="FBAE40"/>
          </p15:clr>
        </p15:guide>
        <p15:guide id="9" pos="3897">
          <p15:clr>
            <a:srgbClr val="FBAE40"/>
          </p15:clr>
        </p15:guide>
        <p15:guide id="10" orient="horz" pos="3741">
          <p15:clr>
            <a:srgbClr val="FBAE40"/>
          </p15:clr>
        </p15:guide>
        <p15:guide id="12" orient="horz" pos="78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A1697-4A4F-4D02-A31B-17F65E09F600}"/>
              </a:ext>
            </a:extLst>
          </p:cNvPr>
          <p:cNvGraphicFramePr>
            <a:graphicFrameLocks noChangeAspect="1"/>
          </p:cNvGraphicFramePr>
          <p:nvPr>
            <p:custDataLst>
              <p:tags r:id="rId1"/>
            </p:custDataLst>
            <p:extLst>
              <p:ext uri="{D42A27DB-BD31-4B8C-83A1-F6EECF244321}">
                <p14:modId xmlns:p14="http://schemas.microsoft.com/office/powerpoint/2010/main" val="90625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D9A1697-4A4F-4D02-A31B-17F65E09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326DCA2-1872-4334-AB48-F6ED42935B5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88DC19BA-229D-452B-A482-D3AFD16EFC68}"/>
              </a:ext>
            </a:extLst>
          </p:cNvPr>
          <p:cNvSpPr>
            <a:spLocks noGrp="1"/>
          </p:cNvSpPr>
          <p:nvPr>
            <p:ph type="title" hasCustomPrompt="1"/>
          </p:nvPr>
        </p:nvSpPr>
        <p:spPr>
          <a:xfrm>
            <a:off x="179388" y="180974"/>
            <a:ext cx="5824536" cy="1652589"/>
          </a:xfrm>
        </p:spPr>
        <p:txBody>
          <a:bodyPr lIns="0" tIns="0" rIns="0" bIns="0" anchor="t">
            <a:normAutofit/>
          </a:bodyPr>
          <a:lstStyle>
            <a:lvl1pPr>
              <a:defRPr sz="4400" cap="none"/>
            </a:lvl1pPr>
          </a:lstStyle>
          <a:p>
            <a:r>
              <a:rPr lang="en-GB" noProof="0"/>
              <a:t>Click to edit master title style</a:t>
            </a:r>
          </a:p>
        </p:txBody>
      </p:sp>
      <p:sp>
        <p:nvSpPr>
          <p:cNvPr id="4" name="Text Placeholder 3">
            <a:extLst>
              <a:ext uri="{FF2B5EF4-FFF2-40B4-BE49-F238E27FC236}">
                <a16:creationId xmlns:a16="http://schemas.microsoft.com/office/drawing/2014/main" id="{2021FE04-BB86-4EC5-AEC5-3FE8662175C6}"/>
              </a:ext>
            </a:extLst>
          </p:cNvPr>
          <p:cNvSpPr>
            <a:spLocks noGrp="1"/>
          </p:cNvSpPr>
          <p:nvPr>
            <p:ph type="body" sz="half" idx="2"/>
          </p:nvPr>
        </p:nvSpPr>
        <p:spPr>
          <a:xfrm>
            <a:off x="179389" y="2014538"/>
            <a:ext cx="5824536" cy="3924300"/>
          </a:xfrm>
        </p:spPr>
        <p:txBody>
          <a:bodyPr lIns="0" tIns="0" rIns="0" bIns="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Click to edit Master text styles</a:t>
            </a:r>
          </a:p>
        </p:txBody>
      </p:sp>
      <p:sp>
        <p:nvSpPr>
          <p:cNvPr id="6" name="Footer Placeholder 5">
            <a:extLst>
              <a:ext uri="{FF2B5EF4-FFF2-40B4-BE49-F238E27FC236}">
                <a16:creationId xmlns:a16="http://schemas.microsoft.com/office/drawing/2014/main" id="{C0362777-4F6F-421D-AAF2-D93BBFE6C727}"/>
              </a:ext>
            </a:extLst>
          </p:cNvPr>
          <p:cNvSpPr>
            <a:spLocks noGrp="1"/>
          </p:cNvSpPr>
          <p:nvPr>
            <p:ph type="ftr" sz="quarter" idx="11"/>
          </p:nvPr>
        </p:nvSpPr>
        <p:spPr/>
        <p:txBody>
          <a:bodyPr lIns="0" tIns="0" rIns="0" bIns="0"/>
          <a:lstStyle/>
          <a:p>
            <a:endParaRPr lang="en-GB" noProof="0"/>
          </a:p>
        </p:txBody>
      </p:sp>
      <p:sp>
        <p:nvSpPr>
          <p:cNvPr id="7" name="Slide Number Placeholder 6">
            <a:extLst>
              <a:ext uri="{FF2B5EF4-FFF2-40B4-BE49-F238E27FC236}">
                <a16:creationId xmlns:a16="http://schemas.microsoft.com/office/drawing/2014/main" id="{A71C7C56-963A-4163-B8A9-5FE4EDCA1FC1}"/>
              </a:ext>
            </a:extLst>
          </p:cNvPr>
          <p:cNvSpPr>
            <a:spLocks noGrp="1"/>
          </p:cNvSpPr>
          <p:nvPr>
            <p:ph type="sldNum" sz="quarter" idx="12"/>
          </p:nvPr>
        </p:nvSpPr>
        <p:spPr/>
        <p:txBody>
          <a:bodyPr lIns="0" tIns="0" rIns="0" bIns="0"/>
          <a:lstStyle/>
          <a:p>
            <a:fld id="{ABB6D191-819E-455F-BC39-F2381519C0C1}" type="slidenum">
              <a:rPr lang="en-GB" noProof="0" smtClean="0"/>
              <a:t>‹#›</a:t>
            </a:fld>
            <a:endParaRPr lang="en-GB" noProof="0"/>
          </a:p>
        </p:txBody>
      </p:sp>
      <p:sp>
        <p:nvSpPr>
          <p:cNvPr id="11" name="Picture Placeholder 4">
            <a:extLst>
              <a:ext uri="{FF2B5EF4-FFF2-40B4-BE49-F238E27FC236}">
                <a16:creationId xmlns:a16="http://schemas.microsoft.com/office/drawing/2014/main" id="{DF70E342-8A51-49B4-A2A2-BED8E1A13493}"/>
              </a:ext>
            </a:extLst>
          </p:cNvPr>
          <p:cNvSpPr>
            <a:spLocks noGrp="1"/>
          </p:cNvSpPr>
          <p:nvPr>
            <p:ph type="pic" sz="quarter" idx="10" hasCustomPrompt="1"/>
          </p:nvPr>
        </p:nvSpPr>
        <p:spPr>
          <a:xfrm>
            <a:off x="6186489" y="178594"/>
            <a:ext cx="5824536" cy="5757863"/>
          </a:xfrm>
        </p:spPr>
        <p:txBody>
          <a:bodyPr lIns="0" tIns="0" rIns="0" bIns="0"/>
          <a:lstStyle>
            <a:lvl1pPr>
              <a:defRPr/>
            </a:lvl1pPr>
          </a:lstStyle>
          <a:p>
            <a:r>
              <a:rPr lang="en-GB" noProof="0"/>
              <a:t>Click to select placeholder - insert picture from the Templafy library</a:t>
            </a:r>
          </a:p>
        </p:txBody>
      </p:sp>
    </p:spTree>
    <p:extLst>
      <p:ext uri="{BB962C8B-B14F-4D97-AF65-F5344CB8AC3E}">
        <p14:creationId xmlns:p14="http://schemas.microsoft.com/office/powerpoint/2010/main" val="3026843398"/>
      </p:ext>
    </p:extLst>
  </p:cSld>
  <p:clrMapOvr>
    <a:masterClrMapping/>
  </p:clrMapOvr>
  <p:extLst>
    <p:ext uri="{DCECCB84-F9BA-43D5-87BE-67443E8EF086}">
      <p15:sldGuideLst xmlns:p15="http://schemas.microsoft.com/office/powerpoint/2012/main">
        <p15:guide id="3" orient="horz" pos="114">
          <p15:clr>
            <a:srgbClr val="FBAE40"/>
          </p15:clr>
        </p15:guide>
        <p15:guide id="5" orient="horz" pos="1269">
          <p15:clr>
            <a:srgbClr val="FBAE40"/>
          </p15:clr>
        </p15:guide>
        <p15:guide id="6" orient="horz" pos="1155">
          <p15:clr>
            <a:srgbClr val="FBAE40"/>
          </p15:clr>
        </p15:guide>
        <p15:guide id="7" orient="horz" pos="3741">
          <p15:clr>
            <a:srgbClr val="FBAE40"/>
          </p15:clr>
        </p15:guide>
        <p15:guide id="8" pos="3783">
          <p15:clr>
            <a:srgbClr val="FBAE40"/>
          </p15:clr>
        </p15:guide>
        <p15:guide id="9" pos="3896">
          <p15:clr>
            <a:srgbClr val="FBAE40"/>
          </p15:clr>
        </p15:guide>
        <p15:guide id="11" orient="horz" pos="78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Legal Disclaimer">
    <p:spTree>
      <p:nvGrpSpPr>
        <p:cNvPr id="1" name=""/>
        <p:cNvGrpSpPr/>
        <p:nvPr/>
      </p:nvGrpSpPr>
      <p:grpSpPr>
        <a:xfrm>
          <a:off x="0" y="0"/>
          <a:ext cx="0" cy="0"/>
          <a:chOff x="0" y="0"/>
          <a:chExt cx="0" cy="0"/>
        </a:xfrm>
      </p:grpSpPr>
      <p:sp>
        <p:nvSpPr>
          <p:cNvPr id="2" name="text" descr="{&quot;templafy&quot;:{&quot;id&quot;:&quot;73195096-35c0-413e-9fdc-dc643feb0d1e&quot;}}" title="UserProfile.LegalEntity.DisclaimerPowerPoint_{{Form.Audience.Audience}}">
            <a:extLst>
              <a:ext uri="{FF2B5EF4-FFF2-40B4-BE49-F238E27FC236}">
                <a16:creationId xmlns:a16="http://schemas.microsoft.com/office/drawing/2014/main" id="{839D58AD-3DE0-4964-9CCB-2C06ADB010AD}"/>
              </a:ext>
            </a:extLst>
          </p:cNvPr>
          <p:cNvSpPr/>
          <p:nvPr/>
        </p:nvSpPr>
        <p:spPr>
          <a:xfrm>
            <a:off x="539750" y="5378450"/>
            <a:ext cx="4968000" cy="392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l"/>
            <a:r>
              <a:rPr lang="en-GB" sz="900" noProof="0">
                <a:solidFill>
                  <a:schemeClr val="tx1"/>
                </a:solidFill>
              </a:rPr>
              <a:t>© 2022 SYSTEMIQ Ltd. All rights reserved.
This is an internal document which provides confidential advice and guidance to partners and staff of SYSTEMIQ Ltd. and its subsidiaries. It is not to be copied or made available to any other party without prior written approval.</a:t>
            </a:r>
          </a:p>
        </p:txBody>
      </p:sp>
      <p:pic>
        <p:nvPicPr>
          <p:cNvPr id="4" name="Picture 3">
            <a:extLst>
              <a:ext uri="{FF2B5EF4-FFF2-40B4-BE49-F238E27FC236}">
                <a16:creationId xmlns:a16="http://schemas.microsoft.com/office/drawing/2014/main" id="{71D867A3-E841-4B3A-89B4-573AB73EF29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9749" y="556390"/>
            <a:ext cx="3193619" cy="870073"/>
          </a:xfrm>
          <a:prstGeom prst="rect">
            <a:avLst/>
          </a:prstGeom>
        </p:spPr>
      </p:pic>
    </p:spTree>
    <p:extLst>
      <p:ext uri="{BB962C8B-B14F-4D97-AF65-F5344CB8AC3E}">
        <p14:creationId xmlns:p14="http://schemas.microsoft.com/office/powerpoint/2010/main" val="4128381821"/>
      </p:ext>
    </p:extLst>
  </p:cSld>
  <p:clrMapOvr>
    <a:masterClrMapping/>
  </p:clrMapOvr>
  <p:extLst>
    <p:ext uri="{DCECCB84-F9BA-43D5-87BE-67443E8EF086}">
      <p15:sldGuideLst xmlns:p15="http://schemas.microsoft.com/office/powerpoint/2012/main">
        <p15:guide id="1" orient="horz" pos="366">
          <p15:clr>
            <a:srgbClr val="FBAE40"/>
          </p15:clr>
        </p15:guide>
        <p15:guide id="4" orient="horz" pos="3741">
          <p15:clr>
            <a:srgbClr val="FBAE40"/>
          </p15:clr>
        </p15:guide>
        <p15:guide id="5" orient="horz" pos="1155">
          <p15:clr>
            <a:srgbClr val="FBAE40"/>
          </p15:clr>
        </p15:guide>
        <p15:guide id="6" pos="3783">
          <p15:clr>
            <a:srgbClr val="FBAE40"/>
          </p15:clr>
        </p15:guide>
        <p15:guide id="7" pos="3896">
          <p15:clr>
            <a:srgbClr val="FBAE40"/>
          </p15:clr>
        </p15:guide>
        <p15:guide id="8" orient="horz" pos="126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06150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C200AD-18D5-486A-A4CB-E94C0B69B40B}"/>
              </a:ext>
            </a:extLst>
          </p:cNvPr>
          <p:cNvGraphicFramePr>
            <a:graphicFrameLocks noChangeAspect="1"/>
          </p:cNvGraphicFramePr>
          <p:nvPr>
            <p:custDataLst>
              <p:tags r:id="rId1"/>
            </p:custDataLst>
            <p:extLst>
              <p:ext uri="{D42A27DB-BD31-4B8C-83A1-F6EECF244321}">
                <p14:modId xmlns:p14="http://schemas.microsoft.com/office/powerpoint/2010/main" val="1205499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55C200AD-18D5-486A-A4CB-E94C0B69B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A69E91C-60CE-4280-A020-6C74B0B2171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41820E8D-4EE5-4F53-8446-F66BF7FA8047}"/>
              </a:ext>
            </a:extLst>
          </p:cNvPr>
          <p:cNvSpPr>
            <a:spLocks noGrp="1"/>
          </p:cNvSpPr>
          <p:nvPr>
            <p:ph type="title" hasCustomPrompt="1"/>
          </p:nvPr>
        </p:nvSpPr>
        <p:spPr/>
        <p:txBody>
          <a:bodyPr vert="horz" lIns="0" tIns="0" rIns="0" bIns="0"/>
          <a:lstStyle>
            <a:lvl1pPr algn="ctr" rtl="0">
              <a:defRPr cap="none">
                <a:solidFill>
                  <a:schemeClr val="accent4"/>
                </a:solidFill>
              </a:defRPr>
            </a:lvl1pPr>
          </a:lstStyle>
          <a:p>
            <a:r>
              <a:rPr lang="en-GB" noProof="0"/>
              <a:t>Click to edit master title style</a:t>
            </a:r>
          </a:p>
        </p:txBody>
      </p:sp>
      <p:sp>
        <p:nvSpPr>
          <p:cNvPr id="4" name="Footer Placeholder 3">
            <a:extLst>
              <a:ext uri="{FF2B5EF4-FFF2-40B4-BE49-F238E27FC236}">
                <a16:creationId xmlns:a16="http://schemas.microsoft.com/office/drawing/2014/main" id="{EBC72DAB-0731-4214-98D8-6C531F8DEB99}"/>
              </a:ext>
            </a:extLst>
          </p:cNvPr>
          <p:cNvSpPr>
            <a:spLocks noGrp="1"/>
          </p:cNvSpPr>
          <p:nvPr>
            <p:ph type="ftr" sz="quarter" idx="11"/>
          </p:nvPr>
        </p:nvSpPr>
        <p:spPr>
          <a:xfrm>
            <a:off x="642796" y="6302335"/>
            <a:ext cx="8733433" cy="374690"/>
          </a:xfrm>
        </p:spPr>
        <p:txBody>
          <a:bodyPr lIns="0" tIns="0" rIns="0" bIns="0"/>
          <a:lstStyle>
            <a:lvl1pPr rtl="0">
              <a:defRPr/>
            </a:lvl1pPr>
          </a:lstStyle>
          <a:p>
            <a:endParaRPr lang="en-GB"/>
          </a:p>
        </p:txBody>
      </p:sp>
      <p:sp>
        <p:nvSpPr>
          <p:cNvPr id="5" name="Slide Number Placeholder 4">
            <a:extLst>
              <a:ext uri="{FF2B5EF4-FFF2-40B4-BE49-F238E27FC236}">
                <a16:creationId xmlns:a16="http://schemas.microsoft.com/office/drawing/2014/main" id="{3E98EFC9-0015-445F-920E-4162760DF929}"/>
              </a:ext>
            </a:extLst>
          </p:cNvPr>
          <p:cNvSpPr>
            <a:spLocks noGrp="1"/>
          </p:cNvSpPr>
          <p:nvPr>
            <p:ph type="sldNum" sz="quarter" idx="12"/>
          </p:nvPr>
        </p:nvSpPr>
        <p:spPr/>
        <p:txBody>
          <a:bodyPr lIns="0" tIns="0" rIns="0" bIns="0"/>
          <a:lstStyle>
            <a:lvl1pPr rtl="0">
              <a:defRPr/>
            </a:lvl1pPr>
          </a:lstStyle>
          <a:p>
            <a:fld id="{ABB6D191-819E-455F-BC39-F2381519C0C1}" type="slidenum">
              <a:rPr lang="en-GB" smtClean="0"/>
              <a:pPr/>
              <a:t>‹#›</a:t>
            </a:fld>
            <a:endParaRPr lang="en-GB"/>
          </a:p>
        </p:txBody>
      </p:sp>
      <p:sp>
        <p:nvSpPr>
          <p:cNvPr id="8" name="Content Placeholder 2">
            <a:extLst>
              <a:ext uri="{FF2B5EF4-FFF2-40B4-BE49-F238E27FC236}">
                <a16:creationId xmlns:a16="http://schemas.microsoft.com/office/drawing/2014/main" id="{87EAE709-370E-422E-B29E-343E23D9ED41}"/>
              </a:ext>
            </a:extLst>
          </p:cNvPr>
          <p:cNvSpPr>
            <a:spLocks noGrp="1"/>
          </p:cNvSpPr>
          <p:nvPr>
            <p:ph idx="1"/>
          </p:nvPr>
        </p:nvSpPr>
        <p:spPr>
          <a:xfrm>
            <a:off x="179388" y="1233488"/>
            <a:ext cx="11831637" cy="4716462"/>
          </a:xfrm>
        </p:spPr>
        <p:txBody>
          <a:bodyPr lIns="0" tIns="0" rIns="0" bIns="0"/>
          <a:lstStyle>
            <a:lvl1pPr rtl="0">
              <a:buClr>
                <a:schemeClr val="tx2"/>
              </a:buClr>
              <a:defRPr i="1">
                <a:solidFill>
                  <a:schemeClr val="tx1"/>
                </a:solidFill>
              </a:defRPr>
            </a:lvl1pPr>
            <a:lvl2pPr rtl="0">
              <a:buClr>
                <a:schemeClr val="tx2"/>
              </a:buClr>
              <a:defRPr i="1">
                <a:solidFill>
                  <a:schemeClr val="tx1"/>
                </a:solidFill>
              </a:defRPr>
            </a:lvl2pPr>
            <a:lvl3pPr rtl="0">
              <a:buClr>
                <a:schemeClr val="tx2"/>
              </a:buClr>
              <a:defRPr i="1">
                <a:solidFill>
                  <a:schemeClr val="tx1"/>
                </a:solidFill>
              </a:defRPr>
            </a:lvl3pPr>
            <a:lvl4pPr rtl="0">
              <a:buClr>
                <a:schemeClr val="tx2"/>
              </a:buClr>
              <a:defRPr i="1">
                <a:solidFill>
                  <a:schemeClr val="tx1"/>
                </a:solidFill>
              </a:defRPr>
            </a:lvl4pPr>
            <a:lvl5pPr rtl="0">
              <a:buClr>
                <a:schemeClr val="tx2"/>
              </a:buClr>
              <a:defRPr i="1">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642103682"/>
      </p:ext>
    </p:extLst>
  </p:cSld>
  <p:clrMapOvr>
    <a:masterClrMapping/>
  </p:clrMapOvr>
  <p:extLst>
    <p:ext uri="{DCECCB84-F9BA-43D5-87BE-67443E8EF086}">
      <p15:sldGuideLst xmlns:p15="http://schemas.microsoft.com/office/powerpoint/2012/main">
        <p15:guide id="3" orient="horz" pos="1155">
          <p15:clr>
            <a:srgbClr val="FBAE40"/>
          </p15:clr>
        </p15:guide>
        <p15:guide id="4" orient="horz" pos="126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lvl1pPr algn="l">
              <a:defRPr>
                <a:latin typeface="Roboto Regular"/>
                <a:cs typeface="Roboto Regular"/>
              </a:defRPr>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tx1">
                    <a:tint val="75000"/>
                  </a:schemeClr>
                </a:solidFill>
                <a:latin typeface="Roboto Regular"/>
                <a:cs typeface="Roboto Regular"/>
              </a:defRPr>
            </a:lvl1pPr>
            <a:lvl2pPr marL="457136" indent="0" algn="ctr">
              <a:buNone/>
              <a:defRPr>
                <a:solidFill>
                  <a:schemeClr val="tx1">
                    <a:tint val="75000"/>
                  </a:schemeClr>
                </a:solidFill>
              </a:defRPr>
            </a:lvl2pPr>
            <a:lvl3pPr marL="914272" indent="0" algn="ctr">
              <a:buNone/>
              <a:defRPr>
                <a:solidFill>
                  <a:schemeClr val="tx1">
                    <a:tint val="75000"/>
                  </a:schemeClr>
                </a:solidFill>
              </a:defRPr>
            </a:lvl3pPr>
            <a:lvl4pPr marL="1371408" indent="0" algn="ctr">
              <a:buNone/>
              <a:defRPr>
                <a:solidFill>
                  <a:schemeClr val="tx1">
                    <a:tint val="75000"/>
                  </a:schemeClr>
                </a:solidFill>
              </a:defRPr>
            </a:lvl4pPr>
            <a:lvl5pPr marL="1828543" indent="0" algn="ctr">
              <a:buNone/>
              <a:defRPr>
                <a:solidFill>
                  <a:schemeClr val="tx1">
                    <a:tint val="75000"/>
                  </a:schemeClr>
                </a:solidFill>
              </a:defRPr>
            </a:lvl5pPr>
            <a:lvl6pPr marL="2285679" indent="0" algn="ctr">
              <a:buNone/>
              <a:defRPr>
                <a:solidFill>
                  <a:schemeClr val="tx1">
                    <a:tint val="75000"/>
                  </a:schemeClr>
                </a:solidFill>
              </a:defRPr>
            </a:lvl6pPr>
            <a:lvl7pPr marL="2742815" indent="0" algn="ctr">
              <a:buNone/>
              <a:defRPr>
                <a:solidFill>
                  <a:schemeClr val="tx1">
                    <a:tint val="75000"/>
                  </a:schemeClr>
                </a:solidFill>
              </a:defRPr>
            </a:lvl7pPr>
            <a:lvl8pPr marL="3199951" indent="0" algn="ctr">
              <a:buNone/>
              <a:defRPr>
                <a:solidFill>
                  <a:schemeClr val="tx1">
                    <a:tint val="75000"/>
                  </a:schemeClr>
                </a:solidFill>
              </a:defRPr>
            </a:lvl8pPr>
            <a:lvl9pPr marL="365708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l">
              <a:defRPr>
                <a:latin typeface="Roboto Regular"/>
                <a:cs typeface="Roboto Regular"/>
              </a:defRPr>
            </a:lvl1p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lgn="l">
              <a:defRPr>
                <a:latin typeface="Roboto Regular"/>
                <a:cs typeface="Roboto Regular"/>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lgn="l">
              <a:defRPr>
                <a:latin typeface="Roboto Regular"/>
                <a:cs typeface="Roboto Regular"/>
              </a:defRPr>
            </a:lvl1p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5279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Blu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dirty="0"/>
          </a:p>
        </p:txBody>
      </p:sp>
    </p:spTree>
    <p:extLst>
      <p:ext uri="{BB962C8B-B14F-4D97-AF65-F5344CB8AC3E}">
        <p14:creationId xmlns:p14="http://schemas.microsoft.com/office/powerpoint/2010/main" val="3519071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2283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6"/>
            <a:ext cx="10363200" cy="1500187"/>
          </a:xfrm>
        </p:spPr>
        <p:txBody>
          <a:bodyPr anchor="b"/>
          <a:lstStyle>
            <a:lvl1pPr marL="0" indent="0">
              <a:buNone/>
              <a:defRPr sz="2000">
                <a:solidFill>
                  <a:schemeClr val="tx1">
                    <a:tint val="75000"/>
                  </a:schemeClr>
                </a:solidFill>
              </a:defRPr>
            </a:lvl1pPr>
            <a:lvl2pPr marL="457136" indent="0">
              <a:buNone/>
              <a:defRPr sz="1800">
                <a:solidFill>
                  <a:schemeClr val="tx1">
                    <a:tint val="75000"/>
                  </a:schemeClr>
                </a:solidFill>
              </a:defRPr>
            </a:lvl2pPr>
            <a:lvl3pPr marL="914272" indent="0">
              <a:buNone/>
              <a:defRPr sz="1600">
                <a:solidFill>
                  <a:schemeClr val="tx1">
                    <a:tint val="75000"/>
                  </a:schemeClr>
                </a:solidFill>
              </a:defRPr>
            </a:lvl3pPr>
            <a:lvl4pPr marL="1371408" indent="0">
              <a:buNone/>
              <a:defRPr sz="1400">
                <a:solidFill>
                  <a:schemeClr val="tx1">
                    <a:tint val="75000"/>
                  </a:schemeClr>
                </a:solidFill>
              </a:defRPr>
            </a:lvl4pPr>
            <a:lvl5pPr marL="1828543" indent="0">
              <a:buNone/>
              <a:defRPr sz="1400">
                <a:solidFill>
                  <a:schemeClr val="tx1">
                    <a:tint val="75000"/>
                  </a:schemeClr>
                </a:solidFill>
              </a:defRPr>
            </a:lvl5pPr>
            <a:lvl6pPr marL="2285679" indent="0">
              <a:buNone/>
              <a:defRPr sz="1400">
                <a:solidFill>
                  <a:schemeClr val="tx1">
                    <a:tint val="75000"/>
                  </a:schemeClr>
                </a:solidFill>
              </a:defRPr>
            </a:lvl6pPr>
            <a:lvl7pPr marL="2742815" indent="0">
              <a:buNone/>
              <a:defRPr sz="1400">
                <a:solidFill>
                  <a:schemeClr val="tx1">
                    <a:tint val="75000"/>
                  </a:schemeClr>
                </a:solidFill>
              </a:defRPr>
            </a:lvl7pPr>
            <a:lvl8pPr marL="3199951" indent="0">
              <a:buNone/>
              <a:defRPr sz="1400">
                <a:solidFill>
                  <a:schemeClr val="tx1">
                    <a:tint val="75000"/>
                  </a:schemeClr>
                </a:solidFill>
              </a:defRPr>
            </a:lvl8pPr>
            <a:lvl9pPr marL="365708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64412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603647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3"/>
            <a:ext cx="5386917"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3"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136" indent="0">
              <a:buNone/>
              <a:defRPr sz="2000" b="1"/>
            </a:lvl2pPr>
            <a:lvl3pPr marL="914272" indent="0">
              <a:buNone/>
              <a:defRPr sz="1800" b="1"/>
            </a:lvl3pPr>
            <a:lvl4pPr marL="1371408" indent="0">
              <a:buNone/>
              <a:defRPr sz="1600" b="1"/>
            </a:lvl4pPr>
            <a:lvl5pPr marL="1828543" indent="0">
              <a:buNone/>
              <a:defRPr sz="1600" b="1"/>
            </a:lvl5pPr>
            <a:lvl6pPr marL="2285679" indent="0">
              <a:buNone/>
              <a:defRPr sz="1600" b="1"/>
            </a:lvl6pPr>
            <a:lvl7pPr marL="2742815" indent="0">
              <a:buNone/>
              <a:defRPr sz="1600" b="1"/>
            </a:lvl7pPr>
            <a:lvl8pPr marL="3199951" indent="0">
              <a:buNone/>
              <a:defRPr sz="1600" b="1"/>
            </a:lvl8pPr>
            <a:lvl9pPr marL="365708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763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556824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76664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1"/>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10868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9" y="612775"/>
            <a:ext cx="7315200" cy="4114800"/>
          </a:xfrm>
        </p:spPr>
        <p:txBody>
          <a:bodyPr/>
          <a:lstStyle>
            <a:lvl1pPr marL="0" indent="0">
              <a:buNone/>
              <a:defRPr sz="3200"/>
            </a:lvl1pPr>
            <a:lvl2pPr marL="457136" indent="0">
              <a:buNone/>
              <a:defRPr sz="2800"/>
            </a:lvl2pPr>
            <a:lvl3pPr marL="914272" indent="0">
              <a:buNone/>
              <a:defRPr sz="2400"/>
            </a:lvl3pPr>
            <a:lvl4pPr marL="1371408" indent="0">
              <a:buNone/>
              <a:defRPr sz="2000"/>
            </a:lvl4pPr>
            <a:lvl5pPr marL="1828543" indent="0">
              <a:buNone/>
              <a:defRPr sz="2000"/>
            </a:lvl5pPr>
            <a:lvl6pPr marL="2285679" indent="0">
              <a:buNone/>
              <a:defRPr sz="2000"/>
            </a:lvl6pPr>
            <a:lvl7pPr marL="2742815" indent="0">
              <a:buNone/>
              <a:defRPr sz="2000"/>
            </a:lvl7pPr>
            <a:lvl8pPr marL="3199951" indent="0">
              <a:buNone/>
              <a:defRPr sz="2000"/>
            </a:lvl8pPr>
            <a:lvl9pPr marL="3657087" indent="0">
              <a:buNone/>
              <a:defRPr sz="2000"/>
            </a:lvl9pPr>
          </a:lstStyle>
          <a:p>
            <a:r>
              <a:rPr lang="en-US"/>
              <a:t>Click icon to add picture</a:t>
            </a:r>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400"/>
            </a:lvl1pPr>
            <a:lvl2pPr marL="457136" indent="0">
              <a:buNone/>
              <a:defRPr sz="1200"/>
            </a:lvl2pPr>
            <a:lvl3pPr marL="914272" indent="0">
              <a:buNone/>
              <a:defRPr sz="1000"/>
            </a:lvl3pPr>
            <a:lvl4pPr marL="1371408" indent="0">
              <a:buNone/>
              <a:defRPr sz="900"/>
            </a:lvl4pPr>
            <a:lvl5pPr marL="1828543" indent="0">
              <a:buNone/>
              <a:defRPr sz="900"/>
            </a:lvl5pPr>
            <a:lvl6pPr marL="2285679" indent="0">
              <a:buNone/>
              <a:defRPr sz="900"/>
            </a:lvl6pPr>
            <a:lvl7pPr marL="2742815" indent="0">
              <a:buNone/>
              <a:defRPr sz="900"/>
            </a:lvl7pPr>
            <a:lvl8pPr marL="3199951" indent="0">
              <a:buNone/>
              <a:defRPr sz="900"/>
            </a:lvl8pPr>
            <a:lvl9pPr marL="365708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70ECD59-A37A-C84B-9DFA-8E427AD378B0}" type="datetimeFigureOut">
              <a:rPr lang="en-US" smtClean="0">
                <a:solidFill>
                  <a:prstClr val="black">
                    <a:tint val="75000"/>
                  </a:prstClr>
                </a:solidFill>
              </a:rPr>
              <a:pPr/>
              <a:t>4/23/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E39091-E0D1-CF46-954B-4EBC67CDBED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25249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D8BD707-D9CF-40AE-B4C6-C98DA3205C09}" type="datetimeFigureOut">
              <a:rPr lang="en-US" smtClean="0"/>
              <a:pPr/>
              <a:t>4/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8" name="Title 7"/>
          <p:cNvSpPr>
            <a:spLocks noGrp="1"/>
          </p:cNvSpPr>
          <p:nvPr>
            <p:ph type="title"/>
          </p:nvPr>
        </p:nvSpPr>
        <p:spPr/>
        <p:txBody>
          <a:bodyPr/>
          <a:lstStyle/>
          <a:p>
            <a:r>
              <a:rPr lang="en-US"/>
              <a:t>Click to edit Master title style</a:t>
            </a:r>
          </a:p>
        </p:txBody>
      </p:sp>
      <p:sp>
        <p:nvSpPr>
          <p:cNvPr id="10" name="Content Placeholder 9"/>
          <p:cNvSpPr>
            <a:spLocks noGrp="1"/>
          </p:cNvSpPr>
          <p:nvPr>
            <p:ph sz="quarter" idx="13"/>
          </p:nvPr>
        </p:nvSpPr>
        <p:spPr>
          <a:xfrm>
            <a:off x="1524000" y="731520"/>
            <a:ext cx="8534400" cy="3474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7109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A45B5-5911-4386-81CD-CD96E11547C6}"/>
              </a:ext>
            </a:extLst>
          </p:cNvPr>
          <p:cNvGraphicFramePr>
            <a:graphicFrameLocks noChangeAspect="1"/>
          </p:cNvGraphicFramePr>
          <p:nvPr>
            <p:custDataLst>
              <p:tags r:id="rId1"/>
            </p:custDataLst>
            <p:extLst>
              <p:ext uri="{D42A27DB-BD31-4B8C-83A1-F6EECF244321}">
                <p14:modId xmlns:p14="http://schemas.microsoft.com/office/powerpoint/2010/main" val="272904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0EDA45B5-5911-4386-81CD-CD96E11547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31FE4A4-5895-4435-8CFD-72D5594F0E3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1">
            <a:extLst>
              <a:ext uri="{FF2B5EF4-FFF2-40B4-BE49-F238E27FC236}">
                <a16:creationId xmlns:a16="http://schemas.microsoft.com/office/drawing/2014/main" id="{B46FDA69-D678-4682-B1B6-2ABA033D11F0}"/>
              </a:ext>
            </a:extLst>
          </p:cNvPr>
          <p:cNvSpPr>
            <a:spLocks noGrp="1"/>
          </p:cNvSpPr>
          <p:nvPr>
            <p:ph type="title" hasCustomPrompt="1"/>
          </p:nvPr>
        </p:nvSpPr>
        <p:spPr>
          <a:xfrm>
            <a:off x="179387" y="179388"/>
            <a:ext cx="11831639" cy="708715"/>
          </a:xfrm>
        </p:spPr>
        <p:txBody>
          <a:bodyPr lIns="0" tIns="0" rIns="0" bIns="0"/>
          <a:lstStyle>
            <a:lvl1pPr>
              <a:defRPr cap="none"/>
            </a:lvl1pPr>
          </a:lstStyle>
          <a:p>
            <a:r>
              <a:rPr lang="en-GB" noProof="0"/>
              <a:t>Click to edit master title style </a:t>
            </a:r>
          </a:p>
        </p:txBody>
      </p:sp>
      <p:sp>
        <p:nvSpPr>
          <p:cNvPr id="3" name="Content Placeholder 2">
            <a:extLst>
              <a:ext uri="{FF2B5EF4-FFF2-40B4-BE49-F238E27FC236}">
                <a16:creationId xmlns:a16="http://schemas.microsoft.com/office/drawing/2014/main" id="{3EF08657-4C6B-414C-8E67-76B6E91427A6}"/>
              </a:ext>
            </a:extLst>
          </p:cNvPr>
          <p:cNvSpPr>
            <a:spLocks noGrp="1"/>
          </p:cNvSpPr>
          <p:nvPr>
            <p:ph idx="1"/>
          </p:nvPr>
        </p:nvSpPr>
        <p:spPr>
          <a:xfrm>
            <a:off x="179387" y="1217958"/>
            <a:ext cx="11831639" cy="4687236"/>
          </a:xfrm>
        </p:spPr>
        <p:txBody>
          <a:bodyPr lIns="0" tIns="0" rIns="0" bIns="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4459308B-F2E0-4F55-BCF8-722C7AB13942}"/>
              </a:ext>
            </a:extLst>
          </p:cNvPr>
          <p:cNvSpPr>
            <a:spLocks noGrp="1"/>
          </p:cNvSpPr>
          <p:nvPr>
            <p:ph type="ftr" sz="quarter" idx="11"/>
          </p:nvPr>
        </p:nvSpPr>
        <p:spPr/>
        <p:txBody>
          <a:bodyPr lIns="0" tIns="0" rIns="0" bIns="0"/>
          <a:lstStyle/>
          <a:p>
            <a:endParaRPr lang="en-GB"/>
          </a:p>
        </p:txBody>
      </p:sp>
      <p:sp>
        <p:nvSpPr>
          <p:cNvPr id="11" name="Text Placeholder 10">
            <a:extLst>
              <a:ext uri="{FF2B5EF4-FFF2-40B4-BE49-F238E27FC236}">
                <a16:creationId xmlns:a16="http://schemas.microsoft.com/office/drawing/2014/main" id="{B029BE47-F266-42FA-A721-A50E43570254}"/>
              </a:ext>
            </a:extLst>
          </p:cNvPr>
          <p:cNvSpPr>
            <a:spLocks noGrp="1"/>
          </p:cNvSpPr>
          <p:nvPr>
            <p:ph type="body" sz="quarter" idx="13" hasCustomPrompt="1"/>
          </p:nvPr>
        </p:nvSpPr>
        <p:spPr>
          <a:xfrm>
            <a:off x="642795" y="5938837"/>
            <a:ext cx="9463189" cy="359672"/>
          </a:xfrm>
        </p:spPr>
        <p:txBody>
          <a:bodyPr anchor="ctr" anchorCtr="0">
            <a:normAutofit/>
          </a:bodyPr>
          <a:lstStyle>
            <a:lvl1pPr marL="0" indent="0">
              <a:buNone/>
              <a:defRPr sz="1000">
                <a:solidFill>
                  <a:schemeClr val="tx1">
                    <a:lumMod val="50000"/>
                    <a:lumOff val="50000"/>
                  </a:schemeClr>
                </a:solidFill>
              </a:defRPr>
            </a:lvl1pPr>
          </a:lstStyle>
          <a:p>
            <a:pPr lvl="0"/>
            <a:r>
              <a:rPr lang="en-GB"/>
              <a:t>Source </a:t>
            </a:r>
          </a:p>
        </p:txBody>
      </p:sp>
    </p:spTree>
    <p:extLst>
      <p:ext uri="{BB962C8B-B14F-4D97-AF65-F5344CB8AC3E}">
        <p14:creationId xmlns:p14="http://schemas.microsoft.com/office/powerpoint/2010/main" val="1233008058"/>
      </p:ext>
    </p:extLst>
  </p:cSld>
  <p:clrMapOvr>
    <a:masterClrMapping/>
  </p:clrMapOvr>
  <p:extLst>
    <p:ext uri="{DCECCB84-F9BA-43D5-87BE-67443E8EF086}">
      <p15:sldGuideLst xmlns:p15="http://schemas.microsoft.com/office/powerpoint/2012/main">
        <p15:guide id="1" orient="horz" pos="113">
          <p15:clr>
            <a:srgbClr val="FBAE40"/>
          </p15:clr>
        </p15:guide>
        <p15:guide id="2" orient="horz" pos="786">
          <p15:clr>
            <a:srgbClr val="FBAE40"/>
          </p15:clr>
        </p15:guide>
        <p15:guide id="3" orient="horz" pos="3741">
          <p15:clr>
            <a:srgbClr val="FBAE40"/>
          </p15:clr>
        </p15:guide>
        <p15:guide id="4" orient="horz" pos="1272">
          <p15:clr>
            <a:srgbClr val="FBAE40"/>
          </p15:clr>
        </p15:guide>
        <p15:guide id="5" orient="horz" pos="1158">
          <p15:clr>
            <a:srgbClr val="FBAE40"/>
          </p15:clr>
        </p15:guide>
        <p15:guide id="6" pos="3784">
          <p15:clr>
            <a:srgbClr val="FBAE40"/>
          </p15:clr>
        </p15:guide>
        <p15:guide id="7" pos="38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dirty="0"/>
          </a:p>
        </p:txBody>
      </p:sp>
    </p:spTree>
    <p:extLst>
      <p:ext uri="{BB962C8B-B14F-4D97-AF65-F5344CB8AC3E}">
        <p14:creationId xmlns:p14="http://schemas.microsoft.com/office/powerpoint/2010/main" val="3328815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Yellow)">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238BFA-C4BB-D76C-0C2B-FAF3D5F1FF4E}"/>
              </a:ext>
            </a:extLst>
          </p:cNvPr>
          <p:cNvSpPr/>
          <p:nvPr userDrawn="1"/>
        </p:nvSpPr>
        <p:spPr>
          <a:xfrm>
            <a:off x="539749" y="540000"/>
            <a:ext cx="11109600" cy="53988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en-GB" sz="3600" b="1" noProof="0">
              <a:solidFill>
                <a:schemeClr val="tx2"/>
              </a:solidFill>
            </a:endParaRPr>
          </a:p>
        </p:txBody>
      </p:sp>
      <p:sp>
        <p:nvSpPr>
          <p:cNvPr id="2" name="Title 1">
            <a:extLst>
              <a:ext uri="{FF2B5EF4-FFF2-40B4-BE49-F238E27FC236}">
                <a16:creationId xmlns:a16="http://schemas.microsoft.com/office/drawing/2014/main" id="{1C1781A4-F0E8-92C0-D61B-A2C0A6136002}"/>
              </a:ext>
            </a:extLst>
          </p:cNvPr>
          <p:cNvSpPr>
            <a:spLocks noGrp="1"/>
          </p:cNvSpPr>
          <p:nvPr>
            <p:ph type="ctrTitle"/>
          </p:nvPr>
        </p:nvSpPr>
        <p:spPr>
          <a:xfrm>
            <a:off x="885669" y="1689099"/>
            <a:ext cx="6766560" cy="2387600"/>
          </a:xfrm>
        </p:spPr>
        <p:txBody>
          <a:bodyPr anchor="t">
            <a:noAutofit/>
          </a:bodyPr>
          <a:lstStyle>
            <a:lvl1pPr algn="l">
              <a:defRPr sz="6000">
                <a:solidFill>
                  <a:schemeClr val="tx2"/>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06310A5-31F4-F6C5-B868-BDFCDD622F9D}"/>
              </a:ext>
            </a:extLst>
          </p:cNvPr>
          <p:cNvSpPr>
            <a:spLocks noGrp="1"/>
          </p:cNvSpPr>
          <p:nvPr>
            <p:ph type="subTitle" idx="1"/>
          </p:nvPr>
        </p:nvSpPr>
        <p:spPr>
          <a:xfrm>
            <a:off x="885669" y="1069975"/>
            <a:ext cx="6766560" cy="347472"/>
          </a:xfrm>
        </p:spPr>
        <p:txBody>
          <a:bodyPr anchor="b">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9" name="Slide Number Placeholder 10">
            <a:extLst>
              <a:ext uri="{FF2B5EF4-FFF2-40B4-BE49-F238E27FC236}">
                <a16:creationId xmlns:a16="http://schemas.microsoft.com/office/drawing/2014/main" id="{FA450C41-5A0D-354F-FB25-A8DFE0D2B2D8}"/>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a:p>
        </p:txBody>
      </p:sp>
      <p:sp>
        <p:nvSpPr>
          <p:cNvPr id="10" name="Footer Placeholder 9">
            <a:extLst>
              <a:ext uri="{FF2B5EF4-FFF2-40B4-BE49-F238E27FC236}">
                <a16:creationId xmlns:a16="http://schemas.microsoft.com/office/drawing/2014/main" id="{B3FED4B5-44A0-8CAA-136C-A20D622AD07A}"/>
              </a:ext>
            </a:extLst>
          </p:cNvPr>
          <p:cNvSpPr>
            <a:spLocks noGrp="1"/>
          </p:cNvSpPr>
          <p:nvPr>
            <p:ph type="ftr" sz="quarter" idx="10"/>
          </p:nvPr>
        </p:nvSpPr>
        <p:spPr/>
        <p:txBody>
          <a:bodyPr/>
          <a:lstStyle>
            <a:lvl1pPr>
              <a:defRPr sz="900">
                <a:solidFill>
                  <a:schemeClr val="bg1">
                    <a:lumMod val="50000"/>
                  </a:schemeClr>
                </a:solidFill>
              </a:defRPr>
            </a:lvl1pPr>
          </a:lstStyle>
          <a:p>
            <a:endParaRPr lang="en-GB" dirty="0"/>
          </a:p>
        </p:txBody>
      </p:sp>
    </p:spTree>
    <p:extLst>
      <p:ext uri="{BB962C8B-B14F-4D97-AF65-F5344CB8AC3E}">
        <p14:creationId xmlns:p14="http://schemas.microsoft.com/office/powerpoint/2010/main" val="2410637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2.xml"/><Relationship Id="rId3" Type="http://schemas.openxmlformats.org/officeDocument/2006/relationships/slideLayout" Target="../slideLayouts/slideLayout37.xml"/><Relationship Id="rId21" Type="http://schemas.openxmlformats.org/officeDocument/2006/relationships/oleObject" Target="../embeddings/oleObject16.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ags" Target="../tags/tag2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8.png"/><Relationship Id="rId10" Type="http://schemas.openxmlformats.org/officeDocument/2006/relationships/slideLayout" Target="../slideLayouts/slideLayout44.xml"/><Relationship Id="rId19" Type="http://schemas.openxmlformats.org/officeDocument/2006/relationships/tags" Target="../tags/tag27.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3.xml"/><Relationship Id="rId3" Type="http://schemas.openxmlformats.org/officeDocument/2006/relationships/slideLayout" Target="../slideLayouts/slideLayout54.xml"/><Relationship Id="rId21" Type="http://schemas.openxmlformats.org/officeDocument/2006/relationships/oleObject" Target="../embeddings/oleObject33.bin"/><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ags" Target="../tags/tag6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image" Target="../media/image8.png"/><Relationship Id="rId10" Type="http://schemas.openxmlformats.org/officeDocument/2006/relationships/slideLayout" Target="../slideLayouts/slideLayout61.xml"/><Relationship Id="rId19" Type="http://schemas.openxmlformats.org/officeDocument/2006/relationships/tags" Target="../tags/tag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4.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08927A6-D2D2-AE8C-9393-A13308FF41BC}"/>
              </a:ext>
            </a:extLst>
          </p:cNvPr>
          <p:cNvGraphicFramePr>
            <a:graphicFrameLocks noChangeAspect="1"/>
          </p:cNvGraphicFramePr>
          <p:nvPr userDrawn="1">
            <p:custDataLst>
              <p:tags r:id="rId36"/>
            </p:custDataLst>
            <p:extLst>
              <p:ext uri="{D42A27DB-BD31-4B8C-83A1-F6EECF244321}">
                <p14:modId xmlns:p14="http://schemas.microsoft.com/office/powerpoint/2010/main" val="249909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44" imgH="343" progId="TCLayout.ActiveDocument.1">
                  <p:embed/>
                </p:oleObj>
              </mc:Choice>
              <mc:Fallback>
                <p:oleObj name="think-cell Slide" r:id="rId37" imgW="344" imgH="343" progId="TCLayout.ActiveDocument.1">
                  <p:embed/>
                  <p:pic>
                    <p:nvPicPr>
                      <p:cNvPr id="6" name="think-cell data - do not delete" hidden="1">
                        <a:extLst>
                          <a:ext uri="{FF2B5EF4-FFF2-40B4-BE49-F238E27FC236}">
                            <a16:creationId xmlns:a16="http://schemas.microsoft.com/office/drawing/2014/main" id="{608927A6-D2D2-AE8C-9393-A13308FF41B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A040F69-D644-78F5-295B-2C373F0A3245}"/>
              </a:ext>
            </a:extLst>
          </p:cNvPr>
          <p:cNvSpPr>
            <a:spLocks noGrp="1"/>
          </p:cNvSpPr>
          <p:nvPr>
            <p:ph type="title"/>
          </p:nvPr>
        </p:nvSpPr>
        <p:spPr>
          <a:xfrm>
            <a:off x="179386" y="179388"/>
            <a:ext cx="11833228" cy="640080"/>
          </a:xfrm>
          <a:prstGeom prst="rect">
            <a:avLst/>
          </a:prstGeom>
        </p:spPr>
        <p:txBody>
          <a:bodyPr vert="horz" lIns="0" tIns="0" rIns="0" bIns="0" rtlCol="0" anchor="t">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77B566AF-E680-0AAF-92BF-F9435DAA1373}"/>
              </a:ext>
            </a:extLst>
          </p:cNvPr>
          <p:cNvSpPr>
            <a:spLocks noGrp="1"/>
          </p:cNvSpPr>
          <p:nvPr>
            <p:ph type="body" idx="1"/>
          </p:nvPr>
        </p:nvSpPr>
        <p:spPr>
          <a:xfrm>
            <a:off x="179386" y="1320800"/>
            <a:ext cx="11833228" cy="438331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0135B197-675D-9CE8-B5C3-1BB3CAC934E9}"/>
              </a:ext>
            </a:extLst>
          </p:cNvPr>
          <p:cNvSpPr>
            <a:spLocks noGrp="1"/>
          </p:cNvSpPr>
          <p:nvPr>
            <p:ph type="ftr" sz="quarter" idx="3"/>
          </p:nvPr>
        </p:nvSpPr>
        <p:spPr>
          <a:xfrm>
            <a:off x="642796" y="6318250"/>
            <a:ext cx="9464040" cy="365125"/>
          </a:xfrm>
          <a:prstGeom prst="rect">
            <a:avLst/>
          </a:prstGeom>
        </p:spPr>
        <p:txBody>
          <a:bodyPr vert="horz" lIns="0" tIns="0" rIns="0" bIns="0" rtlCol="0" anchor="b"/>
          <a:lstStyle>
            <a:lvl1pPr algn="l">
              <a:defRPr sz="900">
                <a:solidFill>
                  <a:schemeClr val="bg1">
                    <a:lumMod val="50000"/>
                  </a:schemeClr>
                </a:solidFill>
              </a:defRPr>
            </a:lvl1pPr>
          </a:lstStyle>
          <a:p>
            <a:endParaRPr lang="en-GB" dirty="0"/>
          </a:p>
        </p:txBody>
      </p:sp>
      <p:sp>
        <p:nvSpPr>
          <p:cNvPr id="11" name="Slide Number Placeholder 10">
            <a:extLst>
              <a:ext uri="{FF2B5EF4-FFF2-40B4-BE49-F238E27FC236}">
                <a16:creationId xmlns:a16="http://schemas.microsoft.com/office/drawing/2014/main" id="{028412A7-5BCD-5F12-8777-119F6DD5A88C}"/>
              </a:ext>
            </a:extLst>
          </p:cNvPr>
          <p:cNvSpPr>
            <a:spLocks noGrp="1"/>
          </p:cNvSpPr>
          <p:nvPr>
            <p:ph type="sldNum" sz="quarter" idx="4"/>
          </p:nvPr>
        </p:nvSpPr>
        <p:spPr>
          <a:xfrm>
            <a:off x="179386" y="6318250"/>
            <a:ext cx="366714" cy="365125"/>
          </a:xfrm>
          <a:prstGeom prst="rect">
            <a:avLst/>
          </a:prstGeom>
        </p:spPr>
        <p:txBody>
          <a:bodyPr vert="horz" lIns="0" tIns="0" rIns="0" bIns="0" rtlCol="0" anchor="b"/>
          <a:lstStyle>
            <a:lvl1pPr algn="l">
              <a:defRPr sz="900">
                <a:solidFill>
                  <a:schemeClr val="bg1">
                    <a:lumMod val="50000"/>
                  </a:schemeClr>
                </a:solidFill>
              </a:defRPr>
            </a:lvl1pPr>
          </a:lstStyle>
          <a:p>
            <a:fld id="{DDF71BC8-773F-4A54-968E-450E29C75AD4}" type="slidenum">
              <a:rPr lang="en-GB" smtClean="0"/>
              <a:pPr/>
              <a:t>‹#›</a:t>
            </a:fld>
            <a:endParaRPr lang="en-GB" dirty="0"/>
          </a:p>
        </p:txBody>
      </p:sp>
      <p:pic>
        <p:nvPicPr>
          <p:cNvPr id="18" name="Picture 17" descr="A picture containing monitor, screen, clock, object&#10;&#10;Description automatically generated">
            <a:extLst>
              <a:ext uri="{FF2B5EF4-FFF2-40B4-BE49-F238E27FC236}">
                <a16:creationId xmlns:a16="http://schemas.microsoft.com/office/drawing/2014/main" id="{0F6436DC-276D-2580-5D8E-C1EC793095BF}"/>
              </a:ext>
            </a:extLst>
          </p:cNvPr>
          <p:cNvPicPr>
            <a:picLocks noChangeAspect="1"/>
          </p:cNvPicPr>
          <p:nvPr userDrawn="1"/>
        </p:nvPicPr>
        <p:blipFill rotWithShape="1">
          <a:blip r:embed="rId39" cstate="screen">
            <a:extLst>
              <a:ext uri="{28A0092B-C50C-407E-A947-70E740481C1C}">
                <a14:useLocalDpi xmlns:a14="http://schemas.microsoft.com/office/drawing/2010/main"/>
              </a:ext>
            </a:extLst>
          </a:blip>
          <a:srcRect/>
          <a:stretch/>
        </p:blipFill>
        <p:spPr>
          <a:xfrm>
            <a:off x="10664128" y="6302517"/>
            <a:ext cx="1384998" cy="412608"/>
          </a:xfrm>
          <a:prstGeom prst="rect">
            <a:avLst/>
          </a:prstGeom>
        </p:spPr>
      </p:pic>
    </p:spTree>
    <p:extLst>
      <p:ext uri="{BB962C8B-B14F-4D97-AF65-F5344CB8AC3E}">
        <p14:creationId xmlns:p14="http://schemas.microsoft.com/office/powerpoint/2010/main" val="136336513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50" r:id="rId10"/>
    <p:sldLayoutId id="2147483669" r:id="rId11"/>
    <p:sldLayoutId id="2147483654" r:id="rId12"/>
    <p:sldLayoutId id="2147483670" r:id="rId13"/>
    <p:sldLayoutId id="2147483671" r:id="rId14"/>
    <p:sldLayoutId id="2147483672" r:id="rId15"/>
    <p:sldLayoutId id="2147483652" r:id="rId16"/>
    <p:sldLayoutId id="2147483653" r:id="rId17"/>
    <p:sldLayoutId id="2147483677" r:id="rId18"/>
    <p:sldLayoutId id="2147483678" r:id="rId19"/>
    <p:sldLayoutId id="2147483673" r:id="rId20"/>
    <p:sldLayoutId id="2147483674" r:id="rId21"/>
    <p:sldLayoutId id="2147483675" r:id="rId22"/>
    <p:sldLayoutId id="2147483676" r:id="rId23"/>
    <p:sldLayoutId id="2147483679" r:id="rId24"/>
    <p:sldLayoutId id="2147483680" r:id="rId25"/>
    <p:sldLayoutId id="2147483681" r:id="rId26"/>
    <p:sldLayoutId id="2147483682" r:id="rId27"/>
    <p:sldLayoutId id="2147483655" r:id="rId28"/>
    <p:sldLayoutId id="2147483656" r:id="rId29"/>
    <p:sldLayoutId id="2147483683" r:id="rId30"/>
    <p:sldLayoutId id="2147483668" r:id="rId31"/>
    <p:sldLayoutId id="2147483684" r:id="rId32"/>
    <p:sldLayoutId id="2147483658" r:id="rId33"/>
    <p:sldLayoutId id="2147483659" r:id="rId34"/>
  </p:sldLayoutIdLst>
  <p:hf hdr="0" dt="0"/>
  <p:txStyles>
    <p:titleStyle>
      <a:lvl1pPr algn="l" defTabSz="914400" rtl="0" eaLnBrk="1" latinLnBrk="0" hangingPunct="1">
        <a:lnSpc>
          <a:spcPct val="90000"/>
        </a:lnSpc>
        <a:spcBef>
          <a:spcPct val="0"/>
        </a:spcBef>
        <a:buNone/>
        <a:defRPr sz="2800" b="1" kern="1200" cap="all" baseline="0">
          <a:solidFill>
            <a:schemeClr val="tx2"/>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2"/>
        </a:buClr>
        <a:buFont typeface="Wingdings" panose="05000000000000000000" pitchFamily="2" charset="2"/>
        <a:buChar char="§"/>
        <a:defRPr sz="1200" kern="1200">
          <a:solidFill>
            <a:schemeClr val="tx1"/>
          </a:solidFill>
          <a:latin typeface="+mn-lt"/>
          <a:ea typeface="+mn-ea"/>
          <a:cs typeface="+mn-cs"/>
        </a:defRPr>
      </a:lvl1pPr>
      <a:lvl2pPr marL="457200" indent="-182880" algn="l" defTabSz="914400" rtl="0" eaLnBrk="1" latinLnBrk="0" hangingPunct="1">
        <a:lnSpc>
          <a:spcPct val="90000"/>
        </a:lnSpc>
        <a:spcBef>
          <a:spcPts val="600"/>
        </a:spcBef>
        <a:buClr>
          <a:schemeClr val="tx2"/>
        </a:buClr>
        <a:buFont typeface="Arial Nova" panose="020B0504020202020204" pitchFamily="34" charset="0"/>
        <a:buChar char="–"/>
        <a:defRPr sz="1200" kern="1200">
          <a:solidFill>
            <a:schemeClr val="tx1"/>
          </a:solidFill>
          <a:latin typeface="+mn-lt"/>
          <a:ea typeface="+mn-ea"/>
          <a:cs typeface="+mn-cs"/>
        </a:defRPr>
      </a:lvl2pPr>
      <a:lvl3pPr marL="594360" indent="-182880" algn="l" defTabSz="914400" rtl="0" eaLnBrk="1" latinLnBrk="0" hangingPunct="1">
        <a:lnSpc>
          <a:spcPct val="90000"/>
        </a:lnSpc>
        <a:spcBef>
          <a:spcPts val="600"/>
        </a:spcBef>
        <a:buClr>
          <a:schemeClr val="tx2"/>
        </a:buClr>
        <a:buFont typeface="Arial Nova" panose="020B0504020202020204" pitchFamily="34" charset="0"/>
        <a:buChar char="–"/>
        <a:defRPr sz="1200" kern="1200">
          <a:solidFill>
            <a:schemeClr val="tx1"/>
          </a:solidFill>
          <a:latin typeface="+mn-lt"/>
          <a:ea typeface="+mn-ea"/>
          <a:cs typeface="+mn-cs"/>
        </a:defRPr>
      </a:lvl3pPr>
      <a:lvl4pPr marL="777240" indent="-182880" algn="l" defTabSz="914400" rtl="0" eaLnBrk="1" latinLnBrk="0" hangingPunct="1">
        <a:lnSpc>
          <a:spcPct val="90000"/>
        </a:lnSpc>
        <a:spcBef>
          <a:spcPts val="600"/>
        </a:spcBef>
        <a:buClr>
          <a:schemeClr val="tx2"/>
        </a:buClr>
        <a:buFont typeface="Arial Nova" panose="020B0504020202020204" pitchFamily="34" charset="0"/>
        <a:buChar char="–"/>
        <a:defRPr sz="1200" kern="1200">
          <a:solidFill>
            <a:schemeClr val="tx1"/>
          </a:solidFill>
          <a:latin typeface="+mn-lt"/>
          <a:ea typeface="+mn-ea"/>
          <a:cs typeface="+mn-cs"/>
        </a:defRPr>
      </a:lvl4pPr>
      <a:lvl5pPr marL="914400" indent="-182880" algn="l" defTabSz="914400" rtl="0" eaLnBrk="1" latinLnBrk="0" hangingPunct="1">
        <a:lnSpc>
          <a:spcPct val="90000"/>
        </a:lnSpc>
        <a:spcBef>
          <a:spcPts val="600"/>
        </a:spcBef>
        <a:buClr>
          <a:schemeClr val="tx2"/>
        </a:buClr>
        <a:buFont typeface="Arial Nova" panose="020B05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32" userDrawn="1">
          <p15:clr>
            <a:srgbClr val="F26B43"/>
          </p15:clr>
        </p15:guide>
        <p15:guide id="2" pos="7576" userDrawn="1">
          <p15:clr>
            <a:srgbClr val="F26B43"/>
          </p15:clr>
        </p15:guide>
        <p15:guide id="3" pos="101" userDrawn="1">
          <p15:clr>
            <a:srgbClr val="F26B43"/>
          </p15:clr>
        </p15:guide>
        <p15:guide id="4" orient="horz" pos="4224" userDrawn="1">
          <p15:clr>
            <a:srgbClr val="F26B43"/>
          </p15:clr>
        </p15:guide>
        <p15:guide id="5" orient="horz" pos="3840" userDrawn="1">
          <p15:clr>
            <a:srgbClr val="F26B43"/>
          </p15:clr>
        </p15:guide>
        <p15:guide id="6" orient="horz" pos="3593" userDrawn="1">
          <p15:clr>
            <a:srgbClr val="F26B43"/>
          </p15:clr>
        </p15:guide>
        <p15:guide id="7" pos="3785" userDrawn="1">
          <p15:clr>
            <a:srgbClr val="F26B43"/>
          </p15:clr>
        </p15:guide>
        <p15:guide id="8" pos="389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19"/>
            </p:custDataLst>
            <p:extLst>
              <p:ext uri="{D42A27DB-BD31-4B8C-83A1-F6EECF244321}">
                <p14:modId xmlns:p14="http://schemas.microsoft.com/office/powerpoint/2010/main" val="412161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179387" y="179388"/>
            <a:ext cx="11831639" cy="708715"/>
          </a:xfrm>
          <a:prstGeom prst="rect">
            <a:avLst/>
          </a:prstGeom>
        </p:spPr>
        <p:txBody>
          <a:bodyPr vert="horz" lIns="0" tIns="0" rIns="0" bIns="0" rtlCol="0" anchor="ctr">
            <a:normAutofit/>
          </a:bodyPr>
          <a:lstStyle/>
          <a:p>
            <a:r>
              <a:rPr lang="en-GB"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179387" y="1247775"/>
            <a:ext cx="11831639" cy="4690732"/>
          </a:xfrm>
          <a:prstGeom prst="rect">
            <a:avLst/>
          </a:prstGeom>
        </p:spPr>
        <p:txBody>
          <a:bodyPr vert="horz" lIns="0" tIns="0" rIns="0" bIns="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E2F9658F-F708-48C0-97B6-10FD3AA4A9B9}"/>
              </a:ext>
            </a:extLst>
          </p:cNvPr>
          <p:cNvSpPr>
            <a:spLocks noGrp="1"/>
          </p:cNvSpPr>
          <p:nvPr>
            <p:ph type="ftr" sz="quarter" idx="3"/>
          </p:nvPr>
        </p:nvSpPr>
        <p:spPr>
          <a:xfrm>
            <a:off x="642796" y="6302335"/>
            <a:ext cx="9463189" cy="374690"/>
          </a:xfrm>
          <a:prstGeom prst="rect">
            <a:avLst/>
          </a:prstGeom>
        </p:spPr>
        <p:txBody>
          <a:bodyPr vert="horz" lIns="0" tIns="0" rIns="0" bIns="0" rtlCol="0" anchor="ctr"/>
          <a:lstStyle>
            <a:lvl1pPr algn="l">
              <a:defRPr sz="1000">
                <a:solidFill>
                  <a:schemeClr val="tx1">
                    <a:tint val="75000"/>
                  </a:schemeClr>
                </a:solidFill>
              </a:defRPr>
            </a:lvl1pPr>
          </a:lstStyle>
          <a:p>
            <a:endParaRPr lang="en-GB"/>
          </a:p>
        </p:txBody>
      </p:sp>
      <p:pic>
        <p:nvPicPr>
          <p:cNvPr id="4" name="Picture 3" descr="A picture containing monitor, screen, clock, object&#10;&#10;Description automatically generated">
            <a:extLst>
              <a:ext uri="{FF2B5EF4-FFF2-40B4-BE49-F238E27FC236}">
                <a16:creationId xmlns:a16="http://schemas.microsoft.com/office/drawing/2014/main" id="{F6CDBB40-A141-D37C-94B7-17A99056B413}"/>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l="1" t="20753" r="7123" b="22064"/>
          <a:stretch/>
        </p:blipFill>
        <p:spPr>
          <a:xfrm>
            <a:off x="10434518" y="6234113"/>
            <a:ext cx="1614608" cy="481012"/>
          </a:xfrm>
          <a:prstGeom prst="rect">
            <a:avLst/>
          </a:prstGeom>
        </p:spPr>
      </p:pic>
      <p:sp>
        <p:nvSpPr>
          <p:cNvPr id="6" name="Rectangle 5">
            <a:extLst>
              <a:ext uri="{FF2B5EF4-FFF2-40B4-BE49-F238E27FC236}">
                <a16:creationId xmlns:a16="http://schemas.microsoft.com/office/drawing/2014/main" id="{756E310F-3AD8-ACDA-22D6-02050F893368}"/>
              </a:ext>
            </a:extLst>
          </p:cNvPr>
          <p:cNvSpPr/>
          <p:nvPr userDrawn="1"/>
        </p:nvSpPr>
        <p:spPr>
          <a:xfrm>
            <a:off x="46448" y="6238047"/>
            <a:ext cx="596348" cy="4770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fld id="{ABB6D191-819E-455F-BC39-F2381519C0C1}" type="slidenum">
              <a:rPr lang="en-GB" sz="1200" noProof="0" smtClean="0">
                <a:solidFill>
                  <a:schemeClr val="tx1">
                    <a:lumMod val="50000"/>
                    <a:lumOff val="50000"/>
                  </a:schemeClr>
                </a:solidFill>
              </a:rPr>
              <a:pPr algn="ctr"/>
              <a:t>‹#›</a:t>
            </a:fld>
            <a:endParaRPr lang="en-GB" sz="1200">
              <a:ln>
                <a:noFill/>
              </a:ln>
              <a:solidFill>
                <a:schemeClr val="tx1">
                  <a:lumMod val="50000"/>
                  <a:lumOff val="50000"/>
                </a:schemeClr>
              </a:solidFill>
            </a:endParaRPr>
          </a:p>
        </p:txBody>
      </p:sp>
    </p:spTree>
    <p:extLst>
      <p:ext uri="{BB962C8B-B14F-4D97-AF65-F5344CB8AC3E}">
        <p14:creationId xmlns:p14="http://schemas.microsoft.com/office/powerpoint/2010/main" val="421239241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Lst>
  <p:hf hdr="0" dt="0"/>
  <p:txStyles>
    <p:titleStyle>
      <a:lvl1pPr algn="l" defTabSz="914400" rtl="0" eaLnBrk="1" latinLnBrk="0" hangingPunct="1">
        <a:lnSpc>
          <a:spcPct val="90000"/>
        </a:lnSpc>
        <a:spcBef>
          <a:spcPct val="0"/>
        </a:spcBef>
        <a:buNone/>
        <a:defRPr sz="3200" kern="1200" cap="all" baseline="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11DD12-5469-4EA3-9311-8331E8A21755}"/>
              </a:ext>
            </a:extLst>
          </p:cNvPr>
          <p:cNvGraphicFramePr>
            <a:graphicFrameLocks noChangeAspect="1"/>
          </p:cNvGraphicFramePr>
          <p:nvPr>
            <p:custDataLst>
              <p:tags r:id="rId19"/>
            </p:custDataLst>
            <p:extLst>
              <p:ext uri="{D42A27DB-BD31-4B8C-83A1-F6EECF244321}">
                <p14:modId xmlns:p14="http://schemas.microsoft.com/office/powerpoint/2010/main" val="263791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8" name="Object 7" hidden="1">
                        <a:extLst>
                          <a:ext uri="{FF2B5EF4-FFF2-40B4-BE49-F238E27FC236}">
                            <a16:creationId xmlns:a16="http://schemas.microsoft.com/office/drawing/2014/main" id="{9F11DD12-5469-4EA3-9311-8331E8A2175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4F704D-00B4-48DD-A117-41BEFDA4A691}"/>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4400" b="0" i="0" baseline="0">
              <a:latin typeface="Bebas Kai" panose="04050603020B02020204" pitchFamily="82" charset="0"/>
              <a:ea typeface="+mj-ea"/>
              <a:cs typeface="+mj-cs"/>
              <a:sym typeface="Bebas Kai" panose="04050603020B02020204" pitchFamily="82" charset="0"/>
            </a:endParaRPr>
          </a:p>
        </p:txBody>
      </p:sp>
      <p:sp>
        <p:nvSpPr>
          <p:cNvPr id="2" name="Title Placeholder 1">
            <a:extLst>
              <a:ext uri="{FF2B5EF4-FFF2-40B4-BE49-F238E27FC236}">
                <a16:creationId xmlns:a16="http://schemas.microsoft.com/office/drawing/2014/main" id="{0540AAAF-33FA-4223-B7E3-CC8D2F042CC1}"/>
              </a:ext>
            </a:extLst>
          </p:cNvPr>
          <p:cNvSpPr>
            <a:spLocks noGrp="1"/>
          </p:cNvSpPr>
          <p:nvPr>
            <p:ph type="title"/>
          </p:nvPr>
        </p:nvSpPr>
        <p:spPr>
          <a:xfrm>
            <a:off x="179387" y="179388"/>
            <a:ext cx="11831639" cy="708715"/>
          </a:xfrm>
          <a:prstGeom prst="rect">
            <a:avLst/>
          </a:prstGeom>
        </p:spPr>
        <p:txBody>
          <a:bodyPr vert="horz" lIns="0" tIns="0" rIns="0" bIns="0" rtlCol="0" anchor="ctr">
            <a:normAutofit/>
          </a:bodyPr>
          <a:lstStyle/>
          <a:p>
            <a:r>
              <a:rPr lang="en-GB" noProof="0"/>
              <a:t>Click to edit Master title style</a:t>
            </a:r>
          </a:p>
        </p:txBody>
      </p:sp>
      <p:sp>
        <p:nvSpPr>
          <p:cNvPr id="3" name="Text Placeholder 2">
            <a:extLst>
              <a:ext uri="{FF2B5EF4-FFF2-40B4-BE49-F238E27FC236}">
                <a16:creationId xmlns:a16="http://schemas.microsoft.com/office/drawing/2014/main" id="{B926D567-524F-4499-A030-E098F89DCD34}"/>
              </a:ext>
            </a:extLst>
          </p:cNvPr>
          <p:cNvSpPr>
            <a:spLocks noGrp="1"/>
          </p:cNvSpPr>
          <p:nvPr>
            <p:ph type="body" idx="1"/>
          </p:nvPr>
        </p:nvSpPr>
        <p:spPr>
          <a:xfrm>
            <a:off x="179387" y="1247775"/>
            <a:ext cx="11831639" cy="4690732"/>
          </a:xfrm>
          <a:prstGeom prst="rect">
            <a:avLst/>
          </a:prstGeom>
        </p:spPr>
        <p:txBody>
          <a:bodyPr vert="horz" lIns="0" tIns="0" rIns="0" bIns="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Footer Placeholder 4">
            <a:extLst>
              <a:ext uri="{FF2B5EF4-FFF2-40B4-BE49-F238E27FC236}">
                <a16:creationId xmlns:a16="http://schemas.microsoft.com/office/drawing/2014/main" id="{E2F9658F-F708-48C0-97B6-10FD3AA4A9B9}"/>
              </a:ext>
            </a:extLst>
          </p:cNvPr>
          <p:cNvSpPr>
            <a:spLocks noGrp="1"/>
          </p:cNvSpPr>
          <p:nvPr>
            <p:ph type="ftr" sz="quarter" idx="3"/>
          </p:nvPr>
        </p:nvSpPr>
        <p:spPr>
          <a:xfrm>
            <a:off x="642796" y="6302335"/>
            <a:ext cx="9463189" cy="374690"/>
          </a:xfrm>
          <a:prstGeom prst="rect">
            <a:avLst/>
          </a:prstGeom>
        </p:spPr>
        <p:txBody>
          <a:bodyPr vert="horz" lIns="0" tIns="0" rIns="0" bIns="0" rtlCol="0" anchor="ctr"/>
          <a:lstStyle>
            <a:lvl1pPr algn="l">
              <a:defRPr sz="1200">
                <a:solidFill>
                  <a:schemeClr val="tx1">
                    <a:tint val="75000"/>
                  </a:schemeClr>
                </a:solidFill>
              </a:defRPr>
            </a:lvl1pPr>
          </a:lstStyle>
          <a:p>
            <a:endParaRPr lang="en-GB" noProof="0"/>
          </a:p>
        </p:txBody>
      </p:sp>
      <p:sp>
        <p:nvSpPr>
          <p:cNvPr id="6" name="Slide Number Placeholder 5">
            <a:extLst>
              <a:ext uri="{FF2B5EF4-FFF2-40B4-BE49-F238E27FC236}">
                <a16:creationId xmlns:a16="http://schemas.microsoft.com/office/drawing/2014/main" id="{52DA3F14-F130-47E8-84A4-CD0D7060F0EE}"/>
              </a:ext>
            </a:extLst>
          </p:cNvPr>
          <p:cNvSpPr>
            <a:spLocks noGrp="1"/>
          </p:cNvSpPr>
          <p:nvPr>
            <p:ph type="sldNum" sz="quarter" idx="4"/>
          </p:nvPr>
        </p:nvSpPr>
        <p:spPr>
          <a:xfrm>
            <a:off x="179388" y="6302336"/>
            <a:ext cx="381928" cy="374690"/>
          </a:xfrm>
          <a:prstGeom prst="rect">
            <a:avLst/>
          </a:prstGeom>
        </p:spPr>
        <p:txBody>
          <a:bodyPr vert="horz" lIns="0" tIns="0" rIns="0" bIns="0" rtlCol="0" anchor="ctr"/>
          <a:lstStyle>
            <a:lvl1pPr algn="l">
              <a:defRPr sz="1200">
                <a:solidFill>
                  <a:schemeClr val="tx1">
                    <a:tint val="75000"/>
                  </a:schemeClr>
                </a:solidFill>
              </a:defRPr>
            </a:lvl1pPr>
          </a:lstStyle>
          <a:p>
            <a:fld id="{ABB6D191-819E-455F-BC39-F2381519C0C1}" type="slidenum">
              <a:rPr lang="en-GB" noProof="0" smtClean="0"/>
              <a:t>‹#›</a:t>
            </a:fld>
            <a:endParaRPr lang="en-GB" noProof="0"/>
          </a:p>
        </p:txBody>
      </p:sp>
      <p:pic>
        <p:nvPicPr>
          <p:cNvPr id="13" name="Picture 12" descr="A picture containing monitor, screen, clock, object&#10;&#10;Description automatically generated">
            <a:extLst>
              <a:ext uri="{FF2B5EF4-FFF2-40B4-BE49-F238E27FC236}">
                <a16:creationId xmlns:a16="http://schemas.microsoft.com/office/drawing/2014/main" id="{365421B0-F2B6-494F-BFAE-C815A88BDCC9}"/>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l="1" t="20753" r="7123" b="22064"/>
          <a:stretch/>
        </p:blipFill>
        <p:spPr>
          <a:xfrm>
            <a:off x="10434518" y="6234113"/>
            <a:ext cx="1614608" cy="481012"/>
          </a:xfrm>
          <a:prstGeom prst="rect">
            <a:avLst/>
          </a:prstGeom>
        </p:spPr>
      </p:pic>
    </p:spTree>
    <p:extLst>
      <p:ext uri="{BB962C8B-B14F-4D97-AF65-F5344CB8AC3E}">
        <p14:creationId xmlns:p14="http://schemas.microsoft.com/office/powerpoint/2010/main" val="368562693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dt="0"/>
  <p:txStyles>
    <p:titleStyle>
      <a:lvl1pPr algn="l" defTabSz="914400" rtl="0" eaLnBrk="1" latinLnBrk="0" hangingPunct="1">
        <a:lnSpc>
          <a:spcPct val="90000"/>
        </a:lnSpc>
        <a:spcBef>
          <a:spcPct val="0"/>
        </a:spcBef>
        <a:buNone/>
        <a:defRPr sz="4400" kern="1200" cap="all" baseline="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pos="113">
          <p15:clr>
            <a:srgbClr val="F26B43"/>
          </p15:clr>
        </p15:guide>
        <p15:guide id="3" orient="horz" pos="113">
          <p15:clr>
            <a:srgbClr val="F26B43"/>
          </p15:clr>
        </p15:guide>
        <p15:guide id="4" orient="horz" pos="42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74638"/>
            <a:ext cx="10972800" cy="1143000"/>
          </a:xfrm>
          <a:prstGeom prst="rect">
            <a:avLst/>
          </a:prstGeom>
        </p:spPr>
        <p:txBody>
          <a:bodyPr vert="horz" lIns="91427" tIns="45713" rIns="91427" bIns="45713"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1" y="1600203"/>
            <a:ext cx="10972800" cy="4525963"/>
          </a:xfrm>
          <a:prstGeom prst="rect">
            <a:avLst/>
          </a:prstGeom>
        </p:spPr>
        <p:txBody>
          <a:bodyPr vert="horz" lIns="91427" tIns="45713" rIns="91427" bIns="4571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err="1"/>
              <a:t>sjdlf</a:t>
            </a:r>
            <a:endParaRPr lang="en-US" dirty="0"/>
          </a:p>
          <a:p>
            <a:pPr lvl="4"/>
            <a:r>
              <a:rPr lang="en-US" dirty="0"/>
              <a:t>Fifth level</a:t>
            </a:r>
          </a:p>
        </p:txBody>
      </p:sp>
      <p:sp>
        <p:nvSpPr>
          <p:cNvPr id="4" name="Date Placeholder 3"/>
          <p:cNvSpPr>
            <a:spLocks noGrp="1"/>
          </p:cNvSpPr>
          <p:nvPr>
            <p:ph type="dt" sz="half" idx="2"/>
          </p:nvPr>
        </p:nvSpPr>
        <p:spPr>
          <a:xfrm>
            <a:off x="609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970ECD59-A37A-C84B-9DFA-8E427AD378B0}" type="datetimeFigureOut">
              <a:rPr lang="en-US" smtClean="0">
                <a:solidFill>
                  <a:prstClr val="black">
                    <a:tint val="75000"/>
                  </a:prstClr>
                </a:solidFill>
              </a:rPr>
              <a:pPr defTabSz="457136"/>
              <a:t>4/23/2024</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353"/>
            <a:ext cx="2844800" cy="365125"/>
          </a:xfrm>
          <a:prstGeom prst="rect">
            <a:avLst/>
          </a:prstGeom>
        </p:spPr>
        <p:txBody>
          <a:bodyPr vert="horz" lIns="91427" tIns="45713" rIns="91427" bIns="45713" rtlCol="0" anchor="ctr"/>
          <a:lstStyle>
            <a:lvl1pPr algn="l">
              <a:defRPr sz="1200">
                <a:solidFill>
                  <a:schemeClr val="tx1">
                    <a:tint val="75000"/>
                  </a:schemeClr>
                </a:solidFill>
                <a:latin typeface="Roboto Regular"/>
                <a:cs typeface="Roboto Regular"/>
              </a:defRPr>
            </a:lvl1pPr>
          </a:lstStyle>
          <a:p>
            <a:pPr defTabSz="457136"/>
            <a:fld id="{80E39091-E0D1-CF46-954B-4EBC67CDBED6}" type="slidenum">
              <a:rPr lang="en-US" smtClean="0">
                <a:solidFill>
                  <a:prstClr val="black">
                    <a:tint val="75000"/>
                  </a:prstClr>
                </a:solidFill>
              </a:rPr>
              <a:pPr defTabSz="457136"/>
              <a:t>‹#›</a:t>
            </a:fld>
            <a:endParaRPr lang="en-US">
              <a:solidFill>
                <a:prstClr val="black">
                  <a:tint val="75000"/>
                </a:prstClr>
              </a:solidFill>
            </a:endParaRPr>
          </a:p>
        </p:txBody>
      </p:sp>
    </p:spTree>
    <p:extLst>
      <p:ext uri="{BB962C8B-B14F-4D97-AF65-F5344CB8AC3E}">
        <p14:creationId xmlns:p14="http://schemas.microsoft.com/office/powerpoint/2010/main" val="128262178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457136" rtl="0" eaLnBrk="1" latinLnBrk="0" hangingPunct="1">
        <a:spcBef>
          <a:spcPct val="0"/>
        </a:spcBef>
        <a:buNone/>
        <a:defRPr sz="4400" kern="1200">
          <a:solidFill>
            <a:schemeClr val="tx1"/>
          </a:solidFill>
          <a:latin typeface="Roboto Regular"/>
          <a:ea typeface="+mj-ea"/>
          <a:cs typeface="Roboto Regular"/>
        </a:defRPr>
      </a:lvl1pPr>
    </p:titleStyle>
    <p:bodyStyle>
      <a:lvl1pPr marL="342852" indent="-342852" algn="l" defTabSz="457136"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845" indent="-285710" algn="l" defTabSz="457136"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2840" indent="-228568" algn="l" defTabSz="457136" rtl="0" eaLnBrk="1" latinLnBrk="0" hangingPunct="1">
        <a:spcBef>
          <a:spcPct val="20000"/>
        </a:spcBef>
        <a:buFont typeface="Arial"/>
        <a:buChar char="•"/>
        <a:defRPr sz="2400" kern="1200">
          <a:solidFill>
            <a:schemeClr val="tx1"/>
          </a:solidFill>
          <a:latin typeface="Roboto Regular"/>
          <a:ea typeface="+mn-ea"/>
          <a:cs typeface="Roboto Regular"/>
        </a:defRPr>
      </a:lvl3pPr>
      <a:lvl4pPr marL="1599975" indent="-228568" algn="l" defTabSz="457136"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395" indent="-342852" algn="l" defTabSz="457136"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247" indent="-228568" algn="l" defTabSz="457136" rtl="0" eaLnBrk="1" latinLnBrk="0" hangingPunct="1">
        <a:spcBef>
          <a:spcPct val="20000"/>
        </a:spcBef>
        <a:buFont typeface="Arial"/>
        <a:buChar char="•"/>
        <a:defRPr sz="2000" kern="1200">
          <a:solidFill>
            <a:schemeClr val="tx1"/>
          </a:solidFill>
          <a:latin typeface="+mn-lt"/>
          <a:ea typeface="+mn-ea"/>
          <a:cs typeface="+mn-cs"/>
        </a:defRPr>
      </a:lvl6pPr>
      <a:lvl7pPr marL="2971383" indent="-228568" algn="l" defTabSz="457136" rtl="0" eaLnBrk="1" latinLnBrk="0" hangingPunct="1">
        <a:spcBef>
          <a:spcPct val="20000"/>
        </a:spcBef>
        <a:buFont typeface="Arial"/>
        <a:buChar char="•"/>
        <a:defRPr sz="2000" kern="1200">
          <a:solidFill>
            <a:schemeClr val="tx1"/>
          </a:solidFill>
          <a:latin typeface="+mn-lt"/>
          <a:ea typeface="+mn-ea"/>
          <a:cs typeface="+mn-cs"/>
        </a:defRPr>
      </a:lvl7pPr>
      <a:lvl8pPr marL="3428519" indent="-228568" algn="l" defTabSz="457136" rtl="0" eaLnBrk="1" latinLnBrk="0" hangingPunct="1">
        <a:spcBef>
          <a:spcPct val="20000"/>
        </a:spcBef>
        <a:buFont typeface="Arial"/>
        <a:buChar char="•"/>
        <a:defRPr sz="2000" kern="1200">
          <a:solidFill>
            <a:schemeClr val="tx1"/>
          </a:solidFill>
          <a:latin typeface="+mn-lt"/>
          <a:ea typeface="+mn-ea"/>
          <a:cs typeface="+mn-cs"/>
        </a:defRPr>
      </a:lvl8pPr>
      <a:lvl9pPr marL="3885655" indent="-228568" algn="l" defTabSz="45713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6" rtl="0" eaLnBrk="1" latinLnBrk="0" hangingPunct="1">
        <a:defRPr sz="1800" kern="1200">
          <a:solidFill>
            <a:schemeClr val="tx1"/>
          </a:solidFill>
          <a:latin typeface="+mn-lt"/>
          <a:ea typeface="+mn-ea"/>
          <a:cs typeface="+mn-cs"/>
        </a:defRPr>
      </a:lvl1pPr>
      <a:lvl2pPr marL="457136" algn="l" defTabSz="457136" rtl="0" eaLnBrk="1" latinLnBrk="0" hangingPunct="1">
        <a:defRPr sz="1800" kern="1200">
          <a:solidFill>
            <a:schemeClr val="tx1"/>
          </a:solidFill>
          <a:latin typeface="+mn-lt"/>
          <a:ea typeface="+mn-ea"/>
          <a:cs typeface="+mn-cs"/>
        </a:defRPr>
      </a:lvl2pPr>
      <a:lvl3pPr marL="914272" algn="l" defTabSz="457136" rtl="0" eaLnBrk="1" latinLnBrk="0" hangingPunct="1">
        <a:defRPr sz="1800" kern="1200">
          <a:solidFill>
            <a:schemeClr val="tx1"/>
          </a:solidFill>
          <a:latin typeface="+mn-lt"/>
          <a:ea typeface="+mn-ea"/>
          <a:cs typeface="+mn-cs"/>
        </a:defRPr>
      </a:lvl3pPr>
      <a:lvl4pPr marL="1371408" algn="l" defTabSz="457136" rtl="0" eaLnBrk="1" latinLnBrk="0" hangingPunct="1">
        <a:defRPr sz="1800" kern="1200">
          <a:solidFill>
            <a:schemeClr val="tx1"/>
          </a:solidFill>
          <a:latin typeface="+mn-lt"/>
          <a:ea typeface="+mn-ea"/>
          <a:cs typeface="+mn-cs"/>
        </a:defRPr>
      </a:lvl4pPr>
      <a:lvl5pPr marL="1828543" algn="l" defTabSz="457136" rtl="0" eaLnBrk="1" latinLnBrk="0" hangingPunct="1">
        <a:defRPr sz="1800" kern="1200">
          <a:solidFill>
            <a:schemeClr val="tx1"/>
          </a:solidFill>
          <a:latin typeface="+mn-lt"/>
          <a:ea typeface="+mn-ea"/>
          <a:cs typeface="+mn-cs"/>
        </a:defRPr>
      </a:lvl5pPr>
      <a:lvl6pPr marL="2285679" algn="l" defTabSz="457136" rtl="0" eaLnBrk="1" latinLnBrk="0" hangingPunct="1">
        <a:defRPr sz="1800" kern="1200">
          <a:solidFill>
            <a:schemeClr val="tx1"/>
          </a:solidFill>
          <a:latin typeface="+mn-lt"/>
          <a:ea typeface="+mn-ea"/>
          <a:cs typeface="+mn-cs"/>
        </a:defRPr>
      </a:lvl6pPr>
      <a:lvl7pPr marL="2742815" algn="l" defTabSz="457136" rtl="0" eaLnBrk="1" latinLnBrk="0" hangingPunct="1">
        <a:defRPr sz="1800" kern="1200">
          <a:solidFill>
            <a:schemeClr val="tx1"/>
          </a:solidFill>
          <a:latin typeface="+mn-lt"/>
          <a:ea typeface="+mn-ea"/>
          <a:cs typeface="+mn-cs"/>
        </a:defRPr>
      </a:lvl7pPr>
      <a:lvl8pPr marL="3199951" algn="l" defTabSz="457136" rtl="0" eaLnBrk="1" latinLnBrk="0" hangingPunct="1">
        <a:defRPr sz="1800" kern="1200">
          <a:solidFill>
            <a:schemeClr val="tx1"/>
          </a:solidFill>
          <a:latin typeface="+mn-lt"/>
          <a:ea typeface="+mn-ea"/>
          <a:cs typeface="+mn-cs"/>
        </a:defRPr>
      </a:lvl8pPr>
      <a:lvl9pPr marL="3657087" algn="l" defTabSz="4571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9.emf"/><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oleObject" Target="../embeddings/oleObject50.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5.xml"/><Relationship Id="rId1" Type="http://schemas.openxmlformats.org/officeDocument/2006/relationships/tags" Target="../tags/tag160.xml"/><Relationship Id="rId6" Type="http://schemas.openxmlformats.org/officeDocument/2006/relationships/image" Target="../media/image21.png"/><Relationship Id="rId5" Type="http://schemas.openxmlformats.org/officeDocument/2006/relationships/image" Target="../media/image11.emf"/><Relationship Id="rId4" Type="http://schemas.openxmlformats.org/officeDocument/2006/relationships/oleObject" Target="../embeddings/oleObject5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5.xml"/><Relationship Id="rId1" Type="http://schemas.openxmlformats.org/officeDocument/2006/relationships/tags" Target="../tags/tag161.xml"/><Relationship Id="rId5" Type="http://schemas.openxmlformats.org/officeDocument/2006/relationships/image" Target="../media/image11.emf"/><Relationship Id="rId4" Type="http://schemas.openxmlformats.org/officeDocument/2006/relationships/oleObject" Target="../embeddings/oleObject6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5.xml"/><Relationship Id="rId1" Type="http://schemas.openxmlformats.org/officeDocument/2006/relationships/tags" Target="../tags/tag162.xml"/><Relationship Id="rId5" Type="http://schemas.openxmlformats.org/officeDocument/2006/relationships/image" Target="../media/image11.emf"/><Relationship Id="rId4" Type="http://schemas.openxmlformats.org/officeDocument/2006/relationships/oleObject" Target="../embeddings/oleObject6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5.xml"/><Relationship Id="rId1" Type="http://schemas.openxmlformats.org/officeDocument/2006/relationships/tags" Target="../tags/tag163.xml"/><Relationship Id="rId5" Type="http://schemas.openxmlformats.org/officeDocument/2006/relationships/image" Target="../media/image11.emf"/><Relationship Id="rId4" Type="http://schemas.openxmlformats.org/officeDocument/2006/relationships/oleObject" Target="../embeddings/oleObject6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3.png"/><Relationship Id="rId2" Type="http://schemas.openxmlformats.org/officeDocument/2006/relationships/slideLayout" Target="../slideLayouts/slideLayout70.xml"/><Relationship Id="rId1" Type="http://schemas.openxmlformats.org/officeDocument/2006/relationships/tags" Target="../tags/tag164.x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63.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57.xml"/><Relationship Id="rId1" Type="http://schemas.openxmlformats.org/officeDocument/2006/relationships/tags" Target="../tags/tag165.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35.xml"/><Relationship Id="rId1" Type="http://schemas.openxmlformats.org/officeDocument/2006/relationships/tags" Target="../tags/tag96.xml"/><Relationship Id="rId6" Type="http://schemas.openxmlformats.org/officeDocument/2006/relationships/chart" Target="../charts/chart1.xml"/><Relationship Id="rId5" Type="http://schemas.openxmlformats.org/officeDocument/2006/relationships/image" Target="../media/image6.emf"/><Relationship Id="rId4" Type="http://schemas.openxmlformats.org/officeDocument/2006/relationships/oleObject" Target="../embeddings/oleObject51.bin"/></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99.xml"/><Relationship Id="rId7" Type="http://schemas.openxmlformats.org/officeDocument/2006/relationships/slideLayout" Target="../slideLayouts/slideLayout35.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chart" Target="../charts/chart2.xml"/><Relationship Id="rId5" Type="http://schemas.openxmlformats.org/officeDocument/2006/relationships/tags" Target="../tags/tag101.xml"/><Relationship Id="rId10" Type="http://schemas.openxmlformats.org/officeDocument/2006/relationships/image" Target="../media/image11.emf"/><Relationship Id="rId4" Type="http://schemas.openxmlformats.org/officeDocument/2006/relationships/tags" Target="../tags/tag100.xml"/><Relationship Id="rId9" Type="http://schemas.openxmlformats.org/officeDocument/2006/relationships/oleObject" Target="../embeddings/oleObject52.bin"/></Relationships>
</file>

<file path=ppt/slides/_rels/slide4.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chart" Target="../charts/chart3.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image" Target="../media/image6.emf"/><Relationship Id="rId2" Type="http://schemas.openxmlformats.org/officeDocument/2006/relationships/tags" Target="../tags/tag104.xml"/><Relationship Id="rId16" Type="http://schemas.openxmlformats.org/officeDocument/2006/relationships/oleObject" Target="../embeddings/oleObject53.bin"/><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notesSlide" Target="../notesSlides/notesSlide4.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oleObject" Target="../embeddings/oleObject54.bin"/><Relationship Id="rId3" Type="http://schemas.openxmlformats.org/officeDocument/2006/relationships/tags" Target="../tags/tag118.xml"/><Relationship Id="rId21" Type="http://schemas.openxmlformats.org/officeDocument/2006/relationships/tags" Target="../tags/tag136.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notesSlide" Target="../notesSlides/notesSlide5.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image" Target="../media/image12.png"/><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slideLayout" Target="../slideLayouts/slideLayout35.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chart" Target="../charts/chart4.xml"/><Relationship Id="rId10" Type="http://schemas.openxmlformats.org/officeDocument/2006/relationships/tags" Target="../tags/tag125.xml"/><Relationship Id="rId19" Type="http://schemas.openxmlformats.org/officeDocument/2006/relationships/tags" Target="../tags/tag134.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35.xml"/><Relationship Id="rId1" Type="http://schemas.openxmlformats.org/officeDocument/2006/relationships/tags" Target="../tags/tag13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15.svg"/><Relationship Id="rId2" Type="http://schemas.openxmlformats.org/officeDocument/2006/relationships/slideLayout" Target="../slideLayouts/slideLayout35.xml"/><Relationship Id="rId1" Type="http://schemas.openxmlformats.org/officeDocument/2006/relationships/tags" Target="../tags/tag140.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1.emf"/><Relationship Id="rId10" Type="http://schemas.openxmlformats.org/officeDocument/2006/relationships/image" Target="../media/image18.png"/><Relationship Id="rId4" Type="http://schemas.openxmlformats.org/officeDocument/2006/relationships/oleObject" Target="../embeddings/oleObject56.bin"/><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3" Type="http://schemas.openxmlformats.org/officeDocument/2006/relationships/tags" Target="../tags/tag143.xml"/><Relationship Id="rId21" Type="http://schemas.openxmlformats.org/officeDocument/2006/relationships/oleObject" Target="../embeddings/oleObject57.bin"/><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notesSlide" Target="../notesSlides/notesSlide8.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chart" Target="../charts/chart5.xml"/><Relationship Id="rId10" Type="http://schemas.openxmlformats.org/officeDocument/2006/relationships/tags" Target="../tags/tag150.xml"/><Relationship Id="rId19" Type="http://schemas.openxmlformats.org/officeDocument/2006/relationships/slideLayout" Target="../slideLayouts/slideLayout35.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tags" Target="../tags/tag159.xml"/><Relationship Id="rId6" Type="http://schemas.openxmlformats.org/officeDocument/2006/relationships/image" Target="../media/image20.png"/><Relationship Id="rId5" Type="http://schemas.openxmlformats.org/officeDocument/2006/relationships/image" Target="../media/image1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E631709-7722-5275-D7AB-F69235BD6BDA}"/>
              </a:ext>
            </a:extLst>
          </p:cNvPr>
          <p:cNvGraphicFramePr>
            <a:graphicFrameLocks noChangeAspect="1"/>
          </p:cNvGraphicFramePr>
          <p:nvPr>
            <p:custDataLst>
              <p:tags r:id="rId3"/>
            </p:custDataLst>
            <p:extLst>
              <p:ext uri="{D42A27DB-BD31-4B8C-83A1-F6EECF244321}">
                <p14:modId xmlns:p14="http://schemas.microsoft.com/office/powerpoint/2010/main" val="182646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3" name="think-cell data - do not delete" hidden="1">
                        <a:extLst>
                          <a:ext uri="{FF2B5EF4-FFF2-40B4-BE49-F238E27FC236}">
                            <a16:creationId xmlns:a16="http://schemas.microsoft.com/office/drawing/2014/main" id="{4E631709-7722-5275-D7AB-F69235BD6B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ADA0E7F-D9DB-DF15-EB1C-778F5FCBF4F5}"/>
              </a:ext>
            </a:extLst>
          </p:cNvPr>
          <p:cNvSpPr>
            <a:spLocks noGrp="1"/>
          </p:cNvSpPr>
          <p:nvPr>
            <p:ph type="ctrTitle"/>
          </p:nvPr>
        </p:nvSpPr>
        <p:spPr>
          <a:xfrm>
            <a:off x="890428" y="1731368"/>
            <a:ext cx="8955029" cy="2387600"/>
          </a:xfrm>
        </p:spPr>
        <p:txBody>
          <a:bodyPr vert="horz">
            <a:normAutofit/>
          </a:bodyPr>
          <a:lstStyle/>
          <a:p>
            <a:r>
              <a:rPr lang="en-GB" sz="4400" dirty="0"/>
              <a:t>S</a:t>
            </a:r>
            <a:r>
              <a:rPr lang="en-GB" sz="4400" cap="none" dirty="0"/>
              <a:t>ystemiq perspectives on the</a:t>
            </a:r>
            <a:br>
              <a:rPr lang="en-GB" sz="4400" cap="none" dirty="0"/>
            </a:br>
            <a:r>
              <a:rPr lang="en-GB" sz="4400" cap="none" dirty="0"/>
              <a:t>Global Resources Outlook 2024 </a:t>
            </a:r>
          </a:p>
        </p:txBody>
      </p:sp>
      <p:sp>
        <p:nvSpPr>
          <p:cNvPr id="5" name="Text Placeholder 4">
            <a:extLst>
              <a:ext uri="{FF2B5EF4-FFF2-40B4-BE49-F238E27FC236}">
                <a16:creationId xmlns:a16="http://schemas.microsoft.com/office/drawing/2014/main" id="{E564065E-7E77-C7B0-57BD-CCCCFAB6049B}"/>
              </a:ext>
            </a:extLst>
          </p:cNvPr>
          <p:cNvSpPr>
            <a:spLocks noGrp="1"/>
          </p:cNvSpPr>
          <p:nvPr>
            <p:ph type="body" sz="quarter" idx="10"/>
          </p:nvPr>
        </p:nvSpPr>
        <p:spPr>
          <a:xfrm>
            <a:off x="890430" y="4547739"/>
            <a:ext cx="8140580" cy="914400"/>
          </a:xfrm>
        </p:spPr>
        <p:txBody>
          <a:bodyPr/>
          <a:lstStyle/>
          <a:p>
            <a:r>
              <a:rPr lang="en-GB" dirty="0"/>
              <a:t>17</a:t>
            </a:r>
            <a:r>
              <a:rPr lang="en-GB" baseline="30000" dirty="0"/>
              <a:t>th</a:t>
            </a:r>
            <a:r>
              <a:rPr lang="en-GB" dirty="0"/>
              <a:t> April 2024</a:t>
            </a:r>
          </a:p>
        </p:txBody>
      </p:sp>
    </p:spTree>
    <p:custDataLst>
      <p:custData r:id="rId1"/>
      <p:custData r:id="rId2"/>
    </p:custDataLst>
    <p:extLst>
      <p:ext uri="{BB962C8B-B14F-4D97-AF65-F5344CB8AC3E}">
        <p14:creationId xmlns:p14="http://schemas.microsoft.com/office/powerpoint/2010/main" val="1227389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1669B8-2E0F-54CE-623B-6B2A2EEC4E8A}"/>
              </a:ext>
            </a:extLst>
          </p:cNvPr>
          <p:cNvGraphicFramePr>
            <a:graphicFrameLocks noChangeAspect="1"/>
          </p:cNvGraphicFramePr>
          <p:nvPr>
            <p:custDataLst>
              <p:tags r:id="rId1"/>
            </p:custDataLst>
            <p:extLst>
              <p:ext uri="{D42A27DB-BD31-4B8C-83A1-F6EECF244321}">
                <p14:modId xmlns:p14="http://schemas.microsoft.com/office/powerpoint/2010/main" val="132319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7" name="think-cell data - do not delete" hidden="1">
                        <a:extLst>
                          <a:ext uri="{FF2B5EF4-FFF2-40B4-BE49-F238E27FC236}">
                            <a16:creationId xmlns:a16="http://schemas.microsoft.com/office/drawing/2014/main" id="{EA1669B8-2E0F-54CE-623B-6B2A2EEC4E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EBCD97-D05E-F684-6953-8672BC30870F}"/>
              </a:ext>
            </a:extLst>
          </p:cNvPr>
          <p:cNvSpPr>
            <a:spLocks noGrp="1"/>
          </p:cNvSpPr>
          <p:nvPr>
            <p:ph type="title"/>
          </p:nvPr>
        </p:nvSpPr>
        <p:spPr/>
        <p:txBody>
          <a:bodyPr vert="horz">
            <a:normAutofit fontScale="90000"/>
          </a:bodyPr>
          <a:lstStyle/>
          <a:p>
            <a:r>
              <a:rPr lang="en-GB" dirty="0"/>
              <a:t>The solution: decoupling resource use from economic activity and human wellbeing</a:t>
            </a:r>
          </a:p>
        </p:txBody>
      </p:sp>
      <p:pic>
        <p:nvPicPr>
          <p:cNvPr id="19" name="Google Shape;216;p11">
            <a:extLst>
              <a:ext uri="{FF2B5EF4-FFF2-40B4-BE49-F238E27FC236}">
                <a16:creationId xmlns:a16="http://schemas.microsoft.com/office/drawing/2014/main" id="{F4070316-58AC-0E88-679B-FF46CC9489A4}"/>
              </a:ext>
            </a:extLst>
          </p:cNvPr>
          <p:cNvPicPr preferRelativeResize="0"/>
          <p:nvPr/>
        </p:nvPicPr>
        <p:blipFill rotWithShape="1">
          <a:blip r:embed="rId6">
            <a:alphaModFix/>
          </a:blip>
          <a:srcRect t="3157"/>
          <a:stretch/>
        </p:blipFill>
        <p:spPr>
          <a:xfrm>
            <a:off x="2733964" y="1100325"/>
            <a:ext cx="5979795" cy="5198184"/>
          </a:xfrm>
          <a:prstGeom prst="rect">
            <a:avLst/>
          </a:prstGeom>
          <a:noFill/>
          <a:ln>
            <a:noFill/>
          </a:ln>
        </p:spPr>
      </p:pic>
      <p:sp>
        <p:nvSpPr>
          <p:cNvPr id="20" name="Text Placeholder 4">
            <a:extLst>
              <a:ext uri="{FF2B5EF4-FFF2-40B4-BE49-F238E27FC236}">
                <a16:creationId xmlns:a16="http://schemas.microsoft.com/office/drawing/2014/main" id="{D78E5042-31EF-A8E9-2F50-75E8B80AC1A0}"/>
              </a:ext>
            </a:extLst>
          </p:cNvPr>
          <p:cNvSpPr txBox="1">
            <a:spLocks/>
          </p:cNvSpPr>
          <p:nvPr/>
        </p:nvSpPr>
        <p:spPr>
          <a:xfrm>
            <a:off x="724334" y="6303962"/>
            <a:ext cx="9463087" cy="374650"/>
          </a:xfrm>
          <a:prstGeom prst="rect">
            <a:avLst/>
          </a:prstGeom>
        </p:spPr>
        <p:txBody>
          <a:bodyPr vert="horz" lIns="0" tIns="0" rIns="0" bIns="0" rtlCol="0" anchor="ctr" anchorCtr="0">
            <a:normAutofit/>
          </a:bodyPr>
          <a:lstStyle>
            <a:defPPr>
              <a:defRPr lang="en-US"/>
            </a:defPPr>
            <a:lvl1pPr marL="0" indent="0" algn="l" defTabSz="914400" rtl="0" eaLnBrk="1" latinLnBrk="0" hangingPunct="1">
              <a:lnSpc>
                <a:spcPct val="90000"/>
              </a:lnSpc>
              <a:spcBef>
                <a:spcPts val="1000"/>
              </a:spcBef>
              <a:buFont typeface="Wingdings" panose="05000000000000000000" pitchFamily="2" charset="2"/>
              <a:buNone/>
              <a:defRPr sz="1000" kern="1200" baseline="0">
                <a:solidFill>
                  <a:schemeClr val="tx1">
                    <a:lumMod val="50000"/>
                    <a:lumOff val="50000"/>
                  </a:schemeClr>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0000">
                    <a:lumMod val="50000"/>
                    <a:lumOff val="50000"/>
                  </a:srgbClr>
                </a:solidFill>
                <a:latin typeface="Century Gothic"/>
              </a:rPr>
              <a:t>Source: International Resource Panel (2024), Global Resources Outlook 2024 (https://www.resourcepanel.org/reports/global-resources-outlook-2024)</a:t>
            </a:r>
          </a:p>
        </p:txBody>
      </p:sp>
      <p:sp>
        <p:nvSpPr>
          <p:cNvPr id="21" name="Rectangle 20">
            <a:extLst>
              <a:ext uri="{FF2B5EF4-FFF2-40B4-BE49-F238E27FC236}">
                <a16:creationId xmlns:a16="http://schemas.microsoft.com/office/drawing/2014/main" id="{456A05A8-F0CF-8F5E-CFCE-3013888A4025}"/>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2289783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hink-cell data - do not delete" hidden="1">
            <a:extLst>
              <a:ext uri="{FF2B5EF4-FFF2-40B4-BE49-F238E27FC236}">
                <a16:creationId xmlns:a16="http://schemas.microsoft.com/office/drawing/2014/main" id="{BAF54C6C-43B2-83D5-C15A-00860DC0F25C}"/>
              </a:ext>
            </a:extLst>
          </p:cNvPr>
          <p:cNvGraphicFramePr>
            <a:graphicFrameLocks noChangeAspect="1"/>
          </p:cNvGraphicFramePr>
          <p:nvPr>
            <p:custDataLst>
              <p:tags r:id="rId1"/>
            </p:custDataLst>
            <p:extLst>
              <p:ext uri="{D42A27DB-BD31-4B8C-83A1-F6EECF244321}">
                <p14:modId xmlns:p14="http://schemas.microsoft.com/office/powerpoint/2010/main" val="1319392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35" name="think-cell data - do not delete" hidden="1">
                        <a:extLst>
                          <a:ext uri="{FF2B5EF4-FFF2-40B4-BE49-F238E27FC236}">
                            <a16:creationId xmlns:a16="http://schemas.microsoft.com/office/drawing/2014/main" id="{BAF54C6C-43B2-83D5-C15A-00860DC0F2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E2E7F5-E3FA-C5D0-07DA-494E0CE3D44D}"/>
              </a:ext>
            </a:extLst>
          </p:cNvPr>
          <p:cNvSpPr>
            <a:spLocks noGrp="1"/>
          </p:cNvSpPr>
          <p:nvPr>
            <p:ph type="title"/>
          </p:nvPr>
        </p:nvSpPr>
        <p:spPr>
          <a:xfrm>
            <a:off x="180180" y="410613"/>
            <a:ext cx="11831639" cy="708715"/>
          </a:xfrm>
        </p:spPr>
        <p:txBody>
          <a:bodyPr vert="horz">
            <a:normAutofit fontScale="90000"/>
          </a:bodyPr>
          <a:lstStyle/>
          <a:p>
            <a:r>
              <a:rPr lang="en-US" dirty="0"/>
              <a:t>Sustainability Transition Scenario is built up as three ‘shifts’ plus measures to support just transition, and measures to </a:t>
            </a:r>
            <a:r>
              <a:rPr lang="en-US" dirty="0" err="1"/>
              <a:t>optimise</a:t>
            </a:r>
            <a:r>
              <a:rPr lang="en-US" dirty="0"/>
              <a:t> key provisioning systems</a:t>
            </a:r>
            <a:endParaRPr lang="en-GB" dirty="0"/>
          </a:p>
        </p:txBody>
      </p:sp>
      <p:grpSp>
        <p:nvGrpSpPr>
          <p:cNvPr id="6" name="Group 5">
            <a:extLst>
              <a:ext uri="{FF2B5EF4-FFF2-40B4-BE49-F238E27FC236}">
                <a16:creationId xmlns:a16="http://schemas.microsoft.com/office/drawing/2014/main" id="{748C5298-29BB-51B8-AA89-A7BE1EBBA25A}"/>
              </a:ext>
            </a:extLst>
          </p:cNvPr>
          <p:cNvGrpSpPr>
            <a:grpSpLocks/>
          </p:cNvGrpSpPr>
          <p:nvPr/>
        </p:nvGrpSpPr>
        <p:grpSpPr>
          <a:xfrm>
            <a:off x="1077041" y="4897500"/>
            <a:ext cx="6990187" cy="691921"/>
            <a:chOff x="1210415" y="5147768"/>
            <a:chExt cx="6990187" cy="691921"/>
          </a:xfrm>
        </p:grpSpPr>
        <p:sp>
          <p:nvSpPr>
            <p:cNvPr id="7" name="Google Shape;523;p14">
              <a:extLst>
                <a:ext uri="{FF2B5EF4-FFF2-40B4-BE49-F238E27FC236}">
                  <a16:creationId xmlns:a16="http://schemas.microsoft.com/office/drawing/2014/main" id="{2D2AC755-9166-9A95-51D4-FAAB9C31EA6D}"/>
                </a:ext>
              </a:extLst>
            </p:cNvPr>
            <p:cNvSpPr/>
            <p:nvPr/>
          </p:nvSpPr>
          <p:spPr>
            <a:xfrm>
              <a:off x="1210415" y="5147768"/>
              <a:ext cx="6990187" cy="691921"/>
            </a:xfrm>
            <a:custGeom>
              <a:avLst/>
              <a:gdLst/>
              <a:ahLst/>
              <a:cxnLst/>
              <a:rect l="l" t="t" r="r" b="b"/>
              <a:pathLst>
                <a:path w="2761556" h="273351" extrusionOk="0">
                  <a:moveTo>
                    <a:pt x="37656" y="0"/>
                  </a:moveTo>
                  <a:lnTo>
                    <a:pt x="2723899" y="0"/>
                  </a:lnTo>
                  <a:cubicBezTo>
                    <a:pt x="2733886" y="0"/>
                    <a:pt x="2743465" y="3967"/>
                    <a:pt x="2750526" y="11029"/>
                  </a:cubicBezTo>
                  <a:cubicBezTo>
                    <a:pt x="2757588" y="18091"/>
                    <a:pt x="2761556" y="27669"/>
                    <a:pt x="2761556" y="37656"/>
                  </a:cubicBezTo>
                  <a:lnTo>
                    <a:pt x="2761556" y="235695"/>
                  </a:lnTo>
                  <a:cubicBezTo>
                    <a:pt x="2761556" y="256492"/>
                    <a:pt x="2744696" y="273351"/>
                    <a:pt x="2723899" y="273351"/>
                  </a:cubicBezTo>
                  <a:lnTo>
                    <a:pt x="37656" y="273351"/>
                  </a:lnTo>
                  <a:cubicBezTo>
                    <a:pt x="27669" y="273351"/>
                    <a:pt x="18091" y="269384"/>
                    <a:pt x="11029" y="262322"/>
                  </a:cubicBezTo>
                  <a:cubicBezTo>
                    <a:pt x="3967" y="255260"/>
                    <a:pt x="0" y="245682"/>
                    <a:pt x="0" y="235695"/>
                  </a:cubicBezTo>
                  <a:lnTo>
                    <a:pt x="0" y="37656"/>
                  </a:lnTo>
                  <a:cubicBezTo>
                    <a:pt x="0" y="27669"/>
                    <a:pt x="3967" y="18091"/>
                    <a:pt x="11029" y="11029"/>
                  </a:cubicBezTo>
                  <a:cubicBezTo>
                    <a:pt x="18091" y="3967"/>
                    <a:pt x="27669" y="0"/>
                    <a:pt x="37656" y="0"/>
                  </a:cubicBezTo>
                  <a:close/>
                </a:path>
              </a:pathLst>
            </a:custGeom>
            <a:solidFill>
              <a:schemeClr val="accent4">
                <a:lumMod val="60000"/>
                <a:lumOff val="40000"/>
              </a:schemeClr>
            </a:solidFill>
            <a:ln>
              <a:noFill/>
            </a:ln>
          </p:spPr>
          <p:txBody>
            <a:bodyPr spcFirstLastPara="1" wrap="square" lIns="60950" tIns="60950" rIns="60950" bIns="60950" anchor="ctr" anchorCtr="0">
              <a:noAutofit/>
            </a:bodyPr>
            <a:lstStyle/>
            <a:p>
              <a:endParaRPr sz="1200" dirty="0">
                <a:latin typeface="+mn-lt"/>
              </a:endParaRPr>
            </a:p>
          </p:txBody>
        </p:sp>
        <p:sp>
          <p:nvSpPr>
            <p:cNvPr id="8" name="Google Shape;543;p14">
              <a:extLst>
                <a:ext uri="{FF2B5EF4-FFF2-40B4-BE49-F238E27FC236}">
                  <a16:creationId xmlns:a16="http://schemas.microsoft.com/office/drawing/2014/main" id="{DA682681-0EBF-B486-1D8D-E557B6D271D3}"/>
                </a:ext>
              </a:extLst>
            </p:cNvPr>
            <p:cNvSpPr txBox="1"/>
            <p:nvPr/>
          </p:nvSpPr>
          <p:spPr>
            <a:xfrm>
              <a:off x="1423603" y="5309075"/>
              <a:ext cx="1960132" cy="369306"/>
            </a:xfrm>
            <a:prstGeom prst="rect">
              <a:avLst/>
            </a:prstGeom>
            <a:noFill/>
            <a:ln>
              <a:noFill/>
            </a:ln>
          </p:spPr>
          <p:txBody>
            <a:bodyPr spcFirstLastPara="1" wrap="none" lIns="60950" tIns="30467" rIns="60950" bIns="30467" anchor="t" anchorCtr="0">
              <a:spAutoFit/>
            </a:bodyPr>
            <a:lstStyle/>
            <a:p>
              <a:r>
                <a:rPr lang="en-US" sz="2000" b="1" dirty="0">
                  <a:solidFill>
                    <a:schemeClr val="lt1"/>
                  </a:solidFill>
                  <a:latin typeface="+mn-lt"/>
                  <a:ea typeface="Montserrat"/>
                  <a:cs typeface="Montserrat"/>
                  <a:sym typeface="Montserrat"/>
                </a:rPr>
                <a:t>Just Transition</a:t>
              </a:r>
              <a:endParaRPr sz="1600" b="1" dirty="0">
                <a:latin typeface="+mn-lt"/>
              </a:endParaRPr>
            </a:p>
          </p:txBody>
        </p:sp>
      </p:grpSp>
      <p:grpSp>
        <p:nvGrpSpPr>
          <p:cNvPr id="9" name="Group 8">
            <a:extLst>
              <a:ext uri="{FF2B5EF4-FFF2-40B4-BE49-F238E27FC236}">
                <a16:creationId xmlns:a16="http://schemas.microsoft.com/office/drawing/2014/main" id="{BED68921-4046-21EA-CDD0-35CF50203284}"/>
              </a:ext>
            </a:extLst>
          </p:cNvPr>
          <p:cNvGrpSpPr/>
          <p:nvPr/>
        </p:nvGrpSpPr>
        <p:grpSpPr>
          <a:xfrm>
            <a:off x="293175" y="1763725"/>
            <a:ext cx="7974957" cy="2997843"/>
            <a:chOff x="214111" y="2106593"/>
            <a:chExt cx="7974957" cy="2997843"/>
          </a:xfrm>
        </p:grpSpPr>
        <p:sp>
          <p:nvSpPr>
            <p:cNvPr id="10" name="Google Shape;528;p14">
              <a:extLst>
                <a:ext uri="{FF2B5EF4-FFF2-40B4-BE49-F238E27FC236}">
                  <a16:creationId xmlns:a16="http://schemas.microsoft.com/office/drawing/2014/main" id="{339BBD6A-BA41-2701-9AA5-724332D53260}"/>
                </a:ext>
              </a:extLst>
            </p:cNvPr>
            <p:cNvSpPr txBox="1"/>
            <p:nvPr/>
          </p:nvSpPr>
          <p:spPr>
            <a:xfrm rot="16200000">
              <a:off x="-727436" y="3361730"/>
              <a:ext cx="2682258" cy="487569"/>
            </a:xfrm>
            <a:prstGeom prst="rect">
              <a:avLst/>
            </a:prstGeom>
            <a:noFill/>
            <a:ln>
              <a:noFill/>
            </a:ln>
          </p:spPr>
          <p:txBody>
            <a:bodyPr spcFirstLastPara="1" wrap="square" lIns="0" tIns="0" rIns="0" bIns="0" anchor="t" anchorCtr="0">
              <a:spAutoFit/>
            </a:bodyPr>
            <a:lstStyle/>
            <a:p>
              <a:pPr algn="ctr">
                <a:lnSpc>
                  <a:spcPct val="99000"/>
                </a:lnSpc>
              </a:pPr>
              <a:r>
                <a:rPr lang="en-US" sz="1600" b="1" dirty="0">
                  <a:latin typeface="+mn-lt"/>
                  <a:ea typeface="Arial"/>
                  <a:cs typeface="Arial"/>
                  <a:sym typeface="Arial"/>
                </a:rPr>
                <a:t>Sustainable Consumption </a:t>
              </a:r>
              <a:endParaRPr sz="1600" b="1" dirty="0">
                <a:latin typeface="+mn-lt"/>
              </a:endParaRPr>
            </a:p>
            <a:p>
              <a:pPr algn="ctr">
                <a:lnSpc>
                  <a:spcPct val="99000"/>
                </a:lnSpc>
              </a:pPr>
              <a:r>
                <a:rPr lang="en-US" sz="1600" b="1" dirty="0">
                  <a:latin typeface="+mn-lt"/>
                  <a:ea typeface="Arial"/>
                  <a:cs typeface="Arial"/>
                  <a:sym typeface="Arial"/>
                </a:rPr>
                <a:t>and Production (SCP)</a:t>
              </a:r>
              <a:endParaRPr sz="1600" b="1" dirty="0">
                <a:latin typeface="+mn-lt"/>
              </a:endParaRPr>
            </a:p>
          </p:txBody>
        </p:sp>
        <p:grpSp>
          <p:nvGrpSpPr>
            <p:cNvPr id="11" name="Group 10">
              <a:extLst>
                <a:ext uri="{FF2B5EF4-FFF2-40B4-BE49-F238E27FC236}">
                  <a16:creationId xmlns:a16="http://schemas.microsoft.com/office/drawing/2014/main" id="{5F53CB83-4348-9442-C649-80FEE23CFED3}"/>
                </a:ext>
              </a:extLst>
            </p:cNvPr>
            <p:cNvGrpSpPr>
              <a:grpSpLocks/>
            </p:cNvGrpSpPr>
            <p:nvPr/>
          </p:nvGrpSpPr>
          <p:grpSpPr>
            <a:xfrm>
              <a:off x="997977" y="2416564"/>
              <a:ext cx="6990187" cy="710387"/>
              <a:chOff x="1270001" y="2520734"/>
              <a:chExt cx="6990187" cy="710387"/>
            </a:xfrm>
          </p:grpSpPr>
          <p:sp>
            <p:nvSpPr>
              <p:cNvPr id="19" name="Google Shape;533;p14">
                <a:extLst>
                  <a:ext uri="{FF2B5EF4-FFF2-40B4-BE49-F238E27FC236}">
                    <a16:creationId xmlns:a16="http://schemas.microsoft.com/office/drawing/2014/main" id="{8ACCB71F-991D-0F02-D970-E0FAA0ABC945}"/>
                  </a:ext>
                </a:extLst>
              </p:cNvPr>
              <p:cNvSpPr/>
              <p:nvPr/>
            </p:nvSpPr>
            <p:spPr>
              <a:xfrm>
                <a:off x="1270001" y="2520734"/>
                <a:ext cx="6990187" cy="71038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4774C5">
                  <a:alpha val="76078"/>
                </a:srgbClr>
              </a:solidFill>
              <a:ln>
                <a:noFill/>
              </a:ln>
            </p:spPr>
            <p:txBody>
              <a:bodyPr spcFirstLastPara="1" wrap="square" lIns="60950" tIns="60950" rIns="60950" bIns="60950" anchor="ctr" anchorCtr="0">
                <a:noAutofit/>
              </a:bodyPr>
              <a:lstStyle/>
              <a:p>
                <a:endParaRPr sz="1200">
                  <a:latin typeface="+mn-lt"/>
                </a:endParaRPr>
              </a:p>
            </p:txBody>
          </p:sp>
          <p:sp>
            <p:nvSpPr>
              <p:cNvPr id="20" name="Google Shape;540;p14">
                <a:extLst>
                  <a:ext uri="{FF2B5EF4-FFF2-40B4-BE49-F238E27FC236}">
                    <a16:creationId xmlns:a16="http://schemas.microsoft.com/office/drawing/2014/main" id="{BF25B2AB-6C4F-B452-B5E0-0A970F89A668}"/>
                  </a:ext>
                </a:extLst>
              </p:cNvPr>
              <p:cNvSpPr txBox="1"/>
              <p:nvPr/>
            </p:nvSpPr>
            <p:spPr>
              <a:xfrm>
                <a:off x="1423603" y="2691274"/>
                <a:ext cx="2574082" cy="369306"/>
              </a:xfrm>
              <a:prstGeom prst="rect">
                <a:avLst/>
              </a:prstGeom>
              <a:noFill/>
              <a:ln>
                <a:noFill/>
              </a:ln>
            </p:spPr>
            <p:txBody>
              <a:bodyPr spcFirstLastPara="1" wrap="none" lIns="60950" tIns="30467" rIns="60950" bIns="30467" anchor="t" anchorCtr="0">
                <a:spAutoFit/>
              </a:bodyPr>
              <a:lstStyle/>
              <a:p>
                <a:r>
                  <a:rPr lang="en-US" sz="2000" b="1" dirty="0">
                    <a:solidFill>
                      <a:schemeClr val="lt1"/>
                    </a:solidFill>
                    <a:latin typeface="+mn-lt"/>
                    <a:ea typeface="Montserrat"/>
                    <a:cs typeface="Montserrat"/>
                    <a:sym typeface="Montserrat"/>
                  </a:rPr>
                  <a:t>Resource Efficiency</a:t>
                </a:r>
                <a:endParaRPr sz="1600" b="1" dirty="0">
                  <a:latin typeface="+mn-lt"/>
                </a:endParaRPr>
              </a:p>
            </p:txBody>
          </p:sp>
        </p:grpSp>
        <p:grpSp>
          <p:nvGrpSpPr>
            <p:cNvPr id="12" name="Group 11">
              <a:extLst>
                <a:ext uri="{FF2B5EF4-FFF2-40B4-BE49-F238E27FC236}">
                  <a16:creationId xmlns:a16="http://schemas.microsoft.com/office/drawing/2014/main" id="{3F970EC3-D1E4-1543-D6FF-843281D5C8F5}"/>
                </a:ext>
              </a:extLst>
            </p:cNvPr>
            <p:cNvGrpSpPr>
              <a:grpSpLocks/>
            </p:cNvGrpSpPr>
            <p:nvPr/>
          </p:nvGrpSpPr>
          <p:grpSpPr>
            <a:xfrm>
              <a:off x="997977" y="3346257"/>
              <a:ext cx="6990187" cy="710387"/>
              <a:chOff x="1230860" y="3410056"/>
              <a:chExt cx="6990188" cy="710387"/>
            </a:xfrm>
          </p:grpSpPr>
          <p:sp>
            <p:nvSpPr>
              <p:cNvPr id="17" name="Google Shape;530;p14">
                <a:extLst>
                  <a:ext uri="{FF2B5EF4-FFF2-40B4-BE49-F238E27FC236}">
                    <a16:creationId xmlns:a16="http://schemas.microsoft.com/office/drawing/2014/main" id="{B3D3361C-9FB0-8138-902F-80EF52ECFC87}"/>
                  </a:ext>
                </a:extLst>
              </p:cNvPr>
              <p:cNvSpPr/>
              <p:nvPr/>
            </p:nvSpPr>
            <p:spPr>
              <a:xfrm>
                <a:off x="1230860" y="3410056"/>
                <a:ext cx="6990188" cy="71038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0B9B9A">
                  <a:alpha val="76078"/>
                </a:srgbClr>
              </a:solidFill>
              <a:ln>
                <a:noFill/>
              </a:ln>
            </p:spPr>
            <p:txBody>
              <a:bodyPr spcFirstLastPara="1" wrap="square" lIns="60950" tIns="60950" rIns="60950" bIns="60950" anchor="ctr" anchorCtr="0">
                <a:noAutofit/>
              </a:bodyPr>
              <a:lstStyle/>
              <a:p>
                <a:endParaRPr sz="1200">
                  <a:latin typeface="+mn-lt"/>
                </a:endParaRPr>
              </a:p>
            </p:txBody>
          </p:sp>
          <p:sp>
            <p:nvSpPr>
              <p:cNvPr id="18" name="Google Shape;541;p14">
                <a:extLst>
                  <a:ext uri="{FF2B5EF4-FFF2-40B4-BE49-F238E27FC236}">
                    <a16:creationId xmlns:a16="http://schemas.microsoft.com/office/drawing/2014/main" id="{EA80CA0F-0A00-4BC5-CD5D-AEFE7EB46B22}"/>
                  </a:ext>
                </a:extLst>
              </p:cNvPr>
              <p:cNvSpPr txBox="1"/>
              <p:nvPr/>
            </p:nvSpPr>
            <p:spPr>
              <a:xfrm>
                <a:off x="1423603" y="3580596"/>
                <a:ext cx="2516374" cy="369306"/>
              </a:xfrm>
              <a:prstGeom prst="rect">
                <a:avLst/>
              </a:prstGeom>
              <a:noFill/>
              <a:ln>
                <a:noFill/>
              </a:ln>
            </p:spPr>
            <p:txBody>
              <a:bodyPr spcFirstLastPara="1" wrap="none" lIns="60950" tIns="30467" rIns="60950" bIns="30467" anchor="t" anchorCtr="0">
                <a:spAutoFit/>
              </a:bodyPr>
              <a:lstStyle/>
              <a:p>
                <a:r>
                  <a:rPr lang="en-US" sz="2000" b="1" dirty="0">
                    <a:solidFill>
                      <a:schemeClr val="lt1"/>
                    </a:solidFill>
                    <a:latin typeface="+mn-lt"/>
                    <a:ea typeface="Montserrat"/>
                    <a:cs typeface="Montserrat"/>
                    <a:sym typeface="Montserrat"/>
                  </a:rPr>
                  <a:t>Climate and Energy</a:t>
                </a:r>
                <a:endParaRPr sz="1600" b="1" dirty="0">
                  <a:latin typeface="+mn-lt"/>
                </a:endParaRPr>
              </a:p>
            </p:txBody>
          </p:sp>
        </p:grpSp>
        <p:grpSp>
          <p:nvGrpSpPr>
            <p:cNvPr id="13" name="Group 12">
              <a:extLst>
                <a:ext uri="{FF2B5EF4-FFF2-40B4-BE49-F238E27FC236}">
                  <a16:creationId xmlns:a16="http://schemas.microsoft.com/office/drawing/2014/main" id="{EB6BBE74-7298-09FB-0892-8F9155C26814}"/>
                </a:ext>
              </a:extLst>
            </p:cNvPr>
            <p:cNvGrpSpPr>
              <a:grpSpLocks/>
            </p:cNvGrpSpPr>
            <p:nvPr/>
          </p:nvGrpSpPr>
          <p:grpSpPr>
            <a:xfrm>
              <a:off x="997977" y="4275950"/>
              <a:ext cx="6990187" cy="710387"/>
              <a:chOff x="1230860" y="4227096"/>
              <a:chExt cx="6990187" cy="710387"/>
            </a:xfrm>
          </p:grpSpPr>
          <p:sp>
            <p:nvSpPr>
              <p:cNvPr id="15" name="Google Shape;520;p14">
                <a:extLst>
                  <a:ext uri="{FF2B5EF4-FFF2-40B4-BE49-F238E27FC236}">
                    <a16:creationId xmlns:a16="http://schemas.microsoft.com/office/drawing/2014/main" id="{57DAC320-2E48-97E3-A314-12AC083C2F74}"/>
                  </a:ext>
                </a:extLst>
              </p:cNvPr>
              <p:cNvSpPr/>
              <p:nvPr/>
            </p:nvSpPr>
            <p:spPr>
              <a:xfrm>
                <a:off x="1230860" y="4227096"/>
                <a:ext cx="6990187" cy="710387"/>
              </a:xfrm>
              <a:custGeom>
                <a:avLst/>
                <a:gdLst/>
                <a:ahLst/>
                <a:cxnLst/>
                <a:rect l="l" t="t" r="r" b="b"/>
                <a:pathLst>
                  <a:path w="2761556" h="280647" extrusionOk="0">
                    <a:moveTo>
                      <a:pt x="37656" y="0"/>
                    </a:moveTo>
                    <a:lnTo>
                      <a:pt x="2723899" y="0"/>
                    </a:lnTo>
                    <a:cubicBezTo>
                      <a:pt x="2733886" y="0"/>
                      <a:pt x="2743465" y="3967"/>
                      <a:pt x="2750526" y="11029"/>
                    </a:cubicBezTo>
                    <a:cubicBezTo>
                      <a:pt x="2757588" y="18091"/>
                      <a:pt x="2761556" y="27669"/>
                      <a:pt x="2761556" y="37656"/>
                    </a:cubicBezTo>
                    <a:lnTo>
                      <a:pt x="2761556" y="242990"/>
                    </a:lnTo>
                    <a:cubicBezTo>
                      <a:pt x="2761556" y="252977"/>
                      <a:pt x="2757588" y="262556"/>
                      <a:pt x="2750526" y="269617"/>
                    </a:cubicBezTo>
                    <a:cubicBezTo>
                      <a:pt x="2743465" y="276679"/>
                      <a:pt x="2733886" y="280647"/>
                      <a:pt x="2723899" y="280647"/>
                    </a:cubicBezTo>
                    <a:lnTo>
                      <a:pt x="37656" y="280647"/>
                    </a:lnTo>
                    <a:cubicBezTo>
                      <a:pt x="27669" y="280647"/>
                      <a:pt x="18091" y="276679"/>
                      <a:pt x="11029" y="269617"/>
                    </a:cubicBezTo>
                    <a:cubicBezTo>
                      <a:pt x="3967" y="262556"/>
                      <a:pt x="0" y="252977"/>
                      <a:pt x="0" y="242990"/>
                    </a:cubicBezTo>
                    <a:lnTo>
                      <a:pt x="0" y="37656"/>
                    </a:lnTo>
                    <a:cubicBezTo>
                      <a:pt x="0" y="27669"/>
                      <a:pt x="3967" y="18091"/>
                      <a:pt x="11029" y="11029"/>
                    </a:cubicBezTo>
                    <a:cubicBezTo>
                      <a:pt x="18091" y="3967"/>
                      <a:pt x="27669" y="0"/>
                      <a:pt x="37656" y="0"/>
                    </a:cubicBezTo>
                    <a:close/>
                  </a:path>
                </a:pathLst>
              </a:custGeom>
              <a:solidFill>
                <a:srgbClr val="72AE49">
                  <a:alpha val="76078"/>
                </a:srgbClr>
              </a:solidFill>
              <a:ln>
                <a:noFill/>
              </a:ln>
            </p:spPr>
            <p:txBody>
              <a:bodyPr spcFirstLastPara="1" wrap="square" lIns="60950" tIns="60950" rIns="60950" bIns="60950" anchor="ctr" anchorCtr="0">
                <a:noAutofit/>
              </a:bodyPr>
              <a:lstStyle/>
              <a:p>
                <a:endParaRPr sz="1200">
                  <a:latin typeface="+mn-lt"/>
                </a:endParaRPr>
              </a:p>
            </p:txBody>
          </p:sp>
          <p:sp>
            <p:nvSpPr>
              <p:cNvPr id="16" name="Google Shape;542;p14">
                <a:extLst>
                  <a:ext uri="{FF2B5EF4-FFF2-40B4-BE49-F238E27FC236}">
                    <a16:creationId xmlns:a16="http://schemas.microsoft.com/office/drawing/2014/main" id="{CCB5D753-63E7-B9B8-4ED9-CB7F0D2BF896}"/>
                  </a:ext>
                </a:extLst>
              </p:cNvPr>
              <p:cNvSpPr txBox="1"/>
              <p:nvPr/>
            </p:nvSpPr>
            <p:spPr>
              <a:xfrm>
                <a:off x="1423603" y="4381148"/>
                <a:ext cx="1963338" cy="369306"/>
              </a:xfrm>
              <a:prstGeom prst="rect">
                <a:avLst/>
              </a:prstGeom>
              <a:noFill/>
              <a:ln>
                <a:noFill/>
              </a:ln>
            </p:spPr>
            <p:txBody>
              <a:bodyPr spcFirstLastPara="1" wrap="none" lIns="60950" tIns="30467" rIns="60950" bIns="30467" anchor="t" anchorCtr="0">
                <a:spAutoFit/>
              </a:bodyPr>
              <a:lstStyle/>
              <a:p>
                <a:r>
                  <a:rPr lang="en-US" sz="2000" b="1" dirty="0">
                    <a:solidFill>
                      <a:schemeClr val="lt1"/>
                    </a:solidFill>
                    <a:latin typeface="+mn-lt"/>
                    <a:ea typeface="Montserrat"/>
                    <a:cs typeface="Montserrat"/>
                    <a:sym typeface="Montserrat"/>
                  </a:rPr>
                  <a:t>Food and Land</a:t>
                </a:r>
                <a:endParaRPr sz="1600" b="1" dirty="0">
                  <a:latin typeface="+mn-lt"/>
                </a:endParaRPr>
              </a:p>
            </p:txBody>
          </p:sp>
        </p:grpSp>
        <p:sp>
          <p:nvSpPr>
            <p:cNvPr id="14" name="Rectangle: Rounded Corners 13">
              <a:extLst>
                <a:ext uri="{FF2B5EF4-FFF2-40B4-BE49-F238E27FC236}">
                  <a16:creationId xmlns:a16="http://schemas.microsoft.com/office/drawing/2014/main" id="{77D21A65-FE85-A0F3-8D3E-DE09444EB09D}"/>
                </a:ext>
              </a:extLst>
            </p:cNvPr>
            <p:cNvSpPr/>
            <p:nvPr/>
          </p:nvSpPr>
          <p:spPr>
            <a:xfrm>
              <a:off x="214111" y="2106593"/>
              <a:ext cx="7974957" cy="2997843"/>
            </a:xfrm>
            <a:prstGeom prst="roundRect">
              <a:avLst>
                <a:gd name="adj" fmla="val 5856"/>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CE1F623E-1DF7-C6BA-6BE7-EC77C671E668}"/>
              </a:ext>
            </a:extLst>
          </p:cNvPr>
          <p:cNvGrpSpPr/>
          <p:nvPr/>
        </p:nvGrpSpPr>
        <p:grpSpPr>
          <a:xfrm>
            <a:off x="8522777" y="1302702"/>
            <a:ext cx="3365958" cy="3340767"/>
            <a:chOff x="8443713" y="1645570"/>
            <a:chExt cx="3365958" cy="3340767"/>
          </a:xfrm>
        </p:grpSpPr>
        <p:sp>
          <p:nvSpPr>
            <p:cNvPr id="22" name="Google Shape;528;p14">
              <a:extLst>
                <a:ext uri="{FF2B5EF4-FFF2-40B4-BE49-F238E27FC236}">
                  <a16:creationId xmlns:a16="http://schemas.microsoft.com/office/drawing/2014/main" id="{34AFA040-B2DE-A146-504E-67A8EFF70072}"/>
                </a:ext>
              </a:extLst>
            </p:cNvPr>
            <p:cNvSpPr txBox="1"/>
            <p:nvPr/>
          </p:nvSpPr>
          <p:spPr>
            <a:xfrm>
              <a:off x="8443713" y="1645570"/>
              <a:ext cx="3365958" cy="548483"/>
            </a:xfrm>
            <a:prstGeom prst="rect">
              <a:avLst/>
            </a:prstGeom>
            <a:noFill/>
            <a:ln>
              <a:noFill/>
            </a:ln>
          </p:spPr>
          <p:txBody>
            <a:bodyPr spcFirstLastPara="1" wrap="square" lIns="0" tIns="0" rIns="0" bIns="0" anchor="t" anchorCtr="0">
              <a:spAutoFit/>
            </a:bodyPr>
            <a:lstStyle/>
            <a:p>
              <a:pPr algn="ctr">
                <a:lnSpc>
                  <a:spcPct val="99000"/>
                </a:lnSpc>
              </a:pPr>
              <a:r>
                <a:rPr lang="en-IN" sz="1800" b="1">
                  <a:solidFill>
                    <a:schemeClr val="bg2"/>
                  </a:solidFill>
                  <a:latin typeface="+mn-lt"/>
                  <a:ea typeface="Arial"/>
                  <a:cs typeface="Arial"/>
                  <a:sym typeface="Arial"/>
                </a:rPr>
                <a:t>Multi-model framework with provisioning system lens</a:t>
              </a:r>
              <a:endParaRPr sz="1800" b="1" dirty="0">
                <a:solidFill>
                  <a:schemeClr val="bg2"/>
                </a:solidFill>
                <a:latin typeface="+mn-lt"/>
              </a:endParaRPr>
            </a:p>
          </p:txBody>
        </p:sp>
        <p:grpSp>
          <p:nvGrpSpPr>
            <p:cNvPr id="23" name="Group 22">
              <a:extLst>
                <a:ext uri="{FF2B5EF4-FFF2-40B4-BE49-F238E27FC236}">
                  <a16:creationId xmlns:a16="http://schemas.microsoft.com/office/drawing/2014/main" id="{C9C0D102-E8A3-8373-F239-1364160E71FE}"/>
                </a:ext>
              </a:extLst>
            </p:cNvPr>
            <p:cNvGrpSpPr/>
            <p:nvPr/>
          </p:nvGrpSpPr>
          <p:grpSpPr>
            <a:xfrm>
              <a:off x="8509628" y="2421682"/>
              <a:ext cx="3281420" cy="710387"/>
              <a:chOff x="8631181" y="2155464"/>
              <a:chExt cx="3281420" cy="710387"/>
            </a:xfrm>
          </p:grpSpPr>
          <p:sp>
            <p:nvSpPr>
              <p:cNvPr id="30" name="Google Shape;533;p14">
                <a:extLst>
                  <a:ext uri="{FF2B5EF4-FFF2-40B4-BE49-F238E27FC236}">
                    <a16:creationId xmlns:a16="http://schemas.microsoft.com/office/drawing/2014/main" id="{3AD538D6-13C1-8038-76E4-3CA814720341}"/>
                  </a:ext>
                </a:extLst>
              </p:cNvPr>
              <p:cNvSpPr/>
              <p:nvPr/>
            </p:nvSpPr>
            <p:spPr>
              <a:xfrm>
                <a:off x="8631181" y="2155464"/>
                <a:ext cx="3281420" cy="710387"/>
              </a:xfrm>
              <a:prstGeom prst="roundRect">
                <a:avLst/>
              </a:prstGeom>
              <a:solidFill>
                <a:srgbClr val="4774C5"/>
              </a:solidFill>
              <a:ln>
                <a:noFill/>
              </a:ln>
            </p:spPr>
            <p:txBody>
              <a:bodyPr spcFirstLastPara="1" wrap="square" lIns="60950" tIns="60950" rIns="60950" bIns="60950" anchor="ctr" anchorCtr="0">
                <a:noAutofit/>
              </a:bodyPr>
              <a:lstStyle/>
              <a:p>
                <a:endParaRPr sz="1200">
                  <a:latin typeface="+mn-lt"/>
                </a:endParaRPr>
              </a:p>
            </p:txBody>
          </p:sp>
          <p:sp>
            <p:nvSpPr>
              <p:cNvPr id="31" name="Google Shape;540;p14">
                <a:extLst>
                  <a:ext uri="{FF2B5EF4-FFF2-40B4-BE49-F238E27FC236}">
                    <a16:creationId xmlns:a16="http://schemas.microsoft.com/office/drawing/2014/main" id="{AB657756-337F-5084-3989-6AF07518B35D}"/>
                  </a:ext>
                </a:extLst>
              </p:cNvPr>
              <p:cNvSpPr txBox="1"/>
              <p:nvPr/>
            </p:nvSpPr>
            <p:spPr>
              <a:xfrm>
                <a:off x="8750316" y="2202894"/>
                <a:ext cx="3043151" cy="615527"/>
              </a:xfrm>
              <a:prstGeom prst="rect">
                <a:avLst/>
              </a:prstGeom>
              <a:noFill/>
              <a:ln>
                <a:noFill/>
              </a:ln>
            </p:spPr>
            <p:txBody>
              <a:bodyPr spcFirstLastPara="1" wrap="square" lIns="60950" tIns="30467" rIns="60950" bIns="30467" anchor="t" anchorCtr="0">
                <a:spAutoFit/>
              </a:bodyPr>
              <a:lstStyle/>
              <a:p>
                <a:pPr algn="ctr"/>
                <a:r>
                  <a:rPr lang="en-US" sz="2000" b="1">
                    <a:solidFill>
                      <a:schemeClr val="lt1"/>
                    </a:solidFill>
                    <a:latin typeface="+mn-lt"/>
                    <a:ea typeface="Montserrat"/>
                    <a:cs typeface="Montserrat"/>
                    <a:sym typeface="Montserrat"/>
                  </a:rPr>
                  <a:t>BUILT ENVIRONMENT </a:t>
                </a:r>
                <a:r>
                  <a:rPr lang="en-US" sz="1600">
                    <a:solidFill>
                      <a:schemeClr val="lt1"/>
                    </a:solidFill>
                    <a:latin typeface="+mn-lt"/>
                    <a:ea typeface="Montserrat"/>
                    <a:cs typeface="Montserrat"/>
                    <a:sym typeface="Montserrat"/>
                  </a:rPr>
                  <a:t>shelter &amp; mobility</a:t>
                </a:r>
                <a:endParaRPr sz="1600" dirty="0">
                  <a:latin typeface="+mn-lt"/>
                </a:endParaRPr>
              </a:p>
            </p:txBody>
          </p:sp>
        </p:grpSp>
        <p:grpSp>
          <p:nvGrpSpPr>
            <p:cNvPr id="24" name="Group 23">
              <a:extLst>
                <a:ext uri="{FF2B5EF4-FFF2-40B4-BE49-F238E27FC236}">
                  <a16:creationId xmlns:a16="http://schemas.microsoft.com/office/drawing/2014/main" id="{547EFA9A-2B30-0255-3406-D82F074CEB41}"/>
                </a:ext>
              </a:extLst>
            </p:cNvPr>
            <p:cNvGrpSpPr/>
            <p:nvPr/>
          </p:nvGrpSpPr>
          <p:grpSpPr>
            <a:xfrm>
              <a:off x="8509628" y="3346257"/>
              <a:ext cx="3281420" cy="710387"/>
              <a:chOff x="8631181" y="3080039"/>
              <a:chExt cx="3281420" cy="710387"/>
            </a:xfrm>
          </p:grpSpPr>
          <p:sp>
            <p:nvSpPr>
              <p:cNvPr id="28" name="Google Shape;533;p14">
                <a:extLst>
                  <a:ext uri="{FF2B5EF4-FFF2-40B4-BE49-F238E27FC236}">
                    <a16:creationId xmlns:a16="http://schemas.microsoft.com/office/drawing/2014/main" id="{D5681E66-EFF6-18A5-DCD7-643B0D6B6230}"/>
                  </a:ext>
                </a:extLst>
              </p:cNvPr>
              <p:cNvSpPr/>
              <p:nvPr/>
            </p:nvSpPr>
            <p:spPr>
              <a:xfrm>
                <a:off x="8631181" y="3080039"/>
                <a:ext cx="3281420" cy="710387"/>
              </a:xfrm>
              <a:prstGeom prst="roundRect">
                <a:avLst/>
              </a:prstGeom>
              <a:solidFill>
                <a:srgbClr val="0B9B9A"/>
              </a:solidFill>
              <a:ln>
                <a:noFill/>
              </a:ln>
            </p:spPr>
            <p:txBody>
              <a:bodyPr spcFirstLastPara="1" wrap="square" lIns="60950" tIns="60950" rIns="60950" bIns="60950" anchor="ctr" anchorCtr="0">
                <a:noAutofit/>
              </a:bodyPr>
              <a:lstStyle/>
              <a:p>
                <a:endParaRPr sz="1200">
                  <a:latin typeface="+mn-lt"/>
                </a:endParaRPr>
              </a:p>
            </p:txBody>
          </p:sp>
          <p:sp>
            <p:nvSpPr>
              <p:cNvPr id="29" name="Google Shape;540;p14">
                <a:extLst>
                  <a:ext uri="{FF2B5EF4-FFF2-40B4-BE49-F238E27FC236}">
                    <a16:creationId xmlns:a16="http://schemas.microsoft.com/office/drawing/2014/main" id="{FBD60B15-C157-0655-A911-5C2E63018E71}"/>
                  </a:ext>
                </a:extLst>
              </p:cNvPr>
              <p:cNvSpPr txBox="1"/>
              <p:nvPr/>
            </p:nvSpPr>
            <p:spPr>
              <a:xfrm>
                <a:off x="8750316" y="3127469"/>
                <a:ext cx="3043151" cy="615527"/>
              </a:xfrm>
              <a:prstGeom prst="rect">
                <a:avLst/>
              </a:prstGeom>
              <a:noFill/>
              <a:ln>
                <a:noFill/>
              </a:ln>
            </p:spPr>
            <p:txBody>
              <a:bodyPr spcFirstLastPara="1" wrap="square" lIns="60950" tIns="30467" rIns="60950" bIns="30467" anchor="t" anchorCtr="0">
                <a:spAutoFit/>
              </a:bodyPr>
              <a:lstStyle/>
              <a:p>
                <a:pPr algn="ctr"/>
                <a:r>
                  <a:rPr lang="en-US" sz="2000" b="1">
                    <a:solidFill>
                      <a:schemeClr val="lt1"/>
                    </a:solidFill>
                    <a:latin typeface="+mn-lt"/>
                    <a:ea typeface="Montserrat"/>
                    <a:cs typeface="Montserrat"/>
                    <a:sym typeface="Montserrat"/>
                  </a:rPr>
                  <a:t>ENERGY SYSTEM</a:t>
                </a:r>
                <a:br>
                  <a:rPr lang="en-US" sz="2000" b="1">
                    <a:solidFill>
                      <a:schemeClr val="lt1"/>
                    </a:solidFill>
                    <a:latin typeface="+mn-lt"/>
                    <a:ea typeface="Montserrat"/>
                    <a:cs typeface="Montserrat"/>
                    <a:sym typeface="Montserrat"/>
                  </a:rPr>
                </a:br>
                <a:r>
                  <a:rPr lang="en-US" sz="1600">
                    <a:solidFill>
                      <a:schemeClr val="lt1"/>
                    </a:solidFill>
                    <a:latin typeface="+mn-lt"/>
                    <a:ea typeface="Montserrat"/>
                    <a:cs typeface="Montserrat"/>
                    <a:sym typeface="Montserrat"/>
                  </a:rPr>
                  <a:t>(includes transport)</a:t>
                </a:r>
                <a:endParaRPr sz="1600" dirty="0">
                  <a:latin typeface="+mn-lt"/>
                </a:endParaRPr>
              </a:p>
            </p:txBody>
          </p:sp>
        </p:grpSp>
        <p:grpSp>
          <p:nvGrpSpPr>
            <p:cNvPr id="25" name="Group 24">
              <a:extLst>
                <a:ext uri="{FF2B5EF4-FFF2-40B4-BE49-F238E27FC236}">
                  <a16:creationId xmlns:a16="http://schemas.microsoft.com/office/drawing/2014/main" id="{F654F96F-4E00-FD55-6272-123FC9F5936F}"/>
                </a:ext>
              </a:extLst>
            </p:cNvPr>
            <p:cNvGrpSpPr/>
            <p:nvPr/>
          </p:nvGrpSpPr>
          <p:grpSpPr>
            <a:xfrm>
              <a:off x="8509628" y="4275950"/>
              <a:ext cx="3281420" cy="710387"/>
              <a:chOff x="8631181" y="4009732"/>
              <a:chExt cx="3281420" cy="710387"/>
            </a:xfrm>
          </p:grpSpPr>
          <p:sp>
            <p:nvSpPr>
              <p:cNvPr id="26" name="Google Shape;533;p14">
                <a:extLst>
                  <a:ext uri="{FF2B5EF4-FFF2-40B4-BE49-F238E27FC236}">
                    <a16:creationId xmlns:a16="http://schemas.microsoft.com/office/drawing/2014/main" id="{9DAB5D8B-6CA7-0F6B-7403-483CBA91D5A3}"/>
                  </a:ext>
                </a:extLst>
              </p:cNvPr>
              <p:cNvSpPr/>
              <p:nvPr/>
            </p:nvSpPr>
            <p:spPr>
              <a:xfrm>
                <a:off x="8631181" y="4009732"/>
                <a:ext cx="3281420" cy="710387"/>
              </a:xfrm>
              <a:prstGeom prst="roundRect">
                <a:avLst/>
              </a:prstGeom>
              <a:solidFill>
                <a:srgbClr val="72AE49"/>
              </a:solidFill>
              <a:ln>
                <a:noFill/>
              </a:ln>
            </p:spPr>
            <p:txBody>
              <a:bodyPr spcFirstLastPara="1" wrap="square" lIns="60950" tIns="60950" rIns="60950" bIns="60950" anchor="ctr" anchorCtr="0">
                <a:noAutofit/>
              </a:bodyPr>
              <a:lstStyle/>
              <a:p>
                <a:endParaRPr sz="1200">
                  <a:latin typeface="+mn-lt"/>
                </a:endParaRPr>
              </a:p>
            </p:txBody>
          </p:sp>
          <p:sp>
            <p:nvSpPr>
              <p:cNvPr id="27" name="Google Shape;540;p14">
                <a:extLst>
                  <a:ext uri="{FF2B5EF4-FFF2-40B4-BE49-F238E27FC236}">
                    <a16:creationId xmlns:a16="http://schemas.microsoft.com/office/drawing/2014/main" id="{CFAB3CF2-FD94-BCFB-D78F-FAE5B82AE19B}"/>
                  </a:ext>
                </a:extLst>
              </p:cNvPr>
              <p:cNvSpPr txBox="1"/>
              <p:nvPr/>
            </p:nvSpPr>
            <p:spPr>
              <a:xfrm>
                <a:off x="8750316" y="4057162"/>
                <a:ext cx="3043151" cy="615527"/>
              </a:xfrm>
              <a:prstGeom prst="rect">
                <a:avLst/>
              </a:prstGeom>
              <a:noFill/>
              <a:ln>
                <a:noFill/>
              </a:ln>
            </p:spPr>
            <p:txBody>
              <a:bodyPr spcFirstLastPara="1" wrap="square" lIns="60950" tIns="30467" rIns="60950" bIns="30467" anchor="t" anchorCtr="0">
                <a:spAutoFit/>
              </a:bodyPr>
              <a:lstStyle/>
              <a:p>
                <a:pPr algn="ctr"/>
                <a:r>
                  <a:rPr lang="en-US" sz="2000" b="1">
                    <a:solidFill>
                      <a:schemeClr val="lt1"/>
                    </a:solidFill>
                    <a:latin typeface="+mn-lt"/>
                    <a:ea typeface="Montserrat"/>
                    <a:cs typeface="Montserrat"/>
                    <a:sym typeface="Montserrat"/>
                  </a:rPr>
                  <a:t>FOOD SYSTEM</a:t>
                </a:r>
                <a:br>
                  <a:rPr lang="en-US" sz="2000" b="1">
                    <a:solidFill>
                      <a:schemeClr val="lt1"/>
                    </a:solidFill>
                    <a:latin typeface="+mn-lt"/>
                    <a:ea typeface="Montserrat"/>
                    <a:cs typeface="Montserrat"/>
                    <a:sym typeface="Montserrat"/>
                  </a:rPr>
                </a:br>
                <a:r>
                  <a:rPr lang="en-US" sz="1600">
                    <a:solidFill>
                      <a:schemeClr val="lt1"/>
                    </a:solidFill>
                    <a:latin typeface="+mn-lt"/>
                    <a:ea typeface="Montserrat"/>
                    <a:cs typeface="Montserrat"/>
                    <a:sym typeface="Montserrat"/>
                  </a:rPr>
                  <a:t>agriculture &amp; land use</a:t>
                </a:r>
                <a:endParaRPr sz="1600" dirty="0">
                  <a:latin typeface="+mn-lt"/>
                </a:endParaRPr>
              </a:p>
            </p:txBody>
          </p:sp>
        </p:grpSp>
      </p:grpSp>
      <p:sp>
        <p:nvSpPr>
          <p:cNvPr id="32" name="Text Placeholder 4">
            <a:extLst>
              <a:ext uri="{FF2B5EF4-FFF2-40B4-BE49-F238E27FC236}">
                <a16:creationId xmlns:a16="http://schemas.microsoft.com/office/drawing/2014/main" id="{8D992EBC-329E-079F-6823-75DCBAF00518}"/>
              </a:ext>
            </a:extLst>
          </p:cNvPr>
          <p:cNvSpPr txBox="1">
            <a:spLocks/>
          </p:cNvSpPr>
          <p:nvPr/>
        </p:nvSpPr>
        <p:spPr>
          <a:xfrm>
            <a:off x="742669" y="6303962"/>
            <a:ext cx="9463087" cy="374650"/>
          </a:xfrm>
          <a:prstGeom prst="rect">
            <a:avLst/>
          </a:prstGeom>
        </p:spPr>
        <p:txBody>
          <a:bodyPr vert="horz" lIns="0" tIns="0" rIns="0" bIns="0" rtlCol="0" anchor="ctr" anchorCtr="0">
            <a:normAutofit/>
          </a:bodyPr>
          <a:lstStyle>
            <a:defPPr>
              <a:defRPr lang="en-US"/>
            </a:defPPr>
            <a:lvl1pPr marL="0" indent="0" algn="l" defTabSz="914400" rtl="0" eaLnBrk="1" latinLnBrk="0" hangingPunct="1">
              <a:lnSpc>
                <a:spcPct val="90000"/>
              </a:lnSpc>
              <a:spcBef>
                <a:spcPts val="1000"/>
              </a:spcBef>
              <a:buFont typeface="Wingdings" panose="05000000000000000000" pitchFamily="2" charset="2"/>
              <a:buNone/>
              <a:defRPr sz="1000" kern="1200" baseline="0">
                <a:solidFill>
                  <a:schemeClr val="tx1">
                    <a:lumMod val="50000"/>
                    <a:lumOff val="50000"/>
                  </a:schemeClr>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0000">
                    <a:lumMod val="50000"/>
                    <a:lumOff val="50000"/>
                  </a:srgbClr>
                </a:solidFill>
                <a:latin typeface="Century Gothic"/>
              </a:rPr>
              <a:t>Source: International Resource Panel (2024), Global Resources Outlook 2024 (https://www.resourcepanel.org/reports/global-resources-outlook-2024)</a:t>
            </a:r>
          </a:p>
        </p:txBody>
      </p:sp>
      <p:sp>
        <p:nvSpPr>
          <p:cNvPr id="33" name="Rectangle 32">
            <a:extLst>
              <a:ext uri="{FF2B5EF4-FFF2-40B4-BE49-F238E27FC236}">
                <a16:creationId xmlns:a16="http://schemas.microsoft.com/office/drawing/2014/main" id="{DCB7BF94-8963-5660-AAAC-B3EDC4F63879}"/>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1049118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768401-20D3-A573-2666-6CFEF7161D7F}"/>
              </a:ext>
            </a:extLst>
          </p:cNvPr>
          <p:cNvGraphicFramePr>
            <a:graphicFrameLocks noChangeAspect="1"/>
          </p:cNvGraphicFramePr>
          <p:nvPr>
            <p:custDataLst>
              <p:tags r:id="rId1"/>
            </p:custDataLst>
            <p:extLst>
              <p:ext uri="{D42A27DB-BD31-4B8C-83A1-F6EECF244321}">
                <p14:modId xmlns:p14="http://schemas.microsoft.com/office/powerpoint/2010/main" val="161246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7" name="think-cell data - do not delete" hidden="1">
                        <a:extLst>
                          <a:ext uri="{FF2B5EF4-FFF2-40B4-BE49-F238E27FC236}">
                            <a16:creationId xmlns:a16="http://schemas.microsoft.com/office/drawing/2014/main" id="{11768401-20D3-A573-2666-6CFEF7161D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65DAF9-0434-05CE-3281-D538CE1E9023}"/>
              </a:ext>
            </a:extLst>
          </p:cNvPr>
          <p:cNvSpPr>
            <a:spLocks noGrp="1"/>
          </p:cNvSpPr>
          <p:nvPr>
            <p:ph type="title"/>
          </p:nvPr>
        </p:nvSpPr>
        <p:spPr>
          <a:xfrm>
            <a:off x="180180" y="205133"/>
            <a:ext cx="11831639" cy="708715"/>
          </a:xfrm>
        </p:spPr>
        <p:txBody>
          <a:bodyPr vert="horz">
            <a:normAutofit fontScale="90000"/>
          </a:bodyPr>
          <a:lstStyle/>
          <a:p>
            <a:r>
              <a:rPr lang="en-US" dirty="0"/>
              <a:t>It is possible to mitigate future resource use while growing the economy, improving well-being and dramatically reducing environmental impacts</a:t>
            </a:r>
            <a:endParaRPr lang="en-GB" dirty="0"/>
          </a:p>
        </p:txBody>
      </p:sp>
      <p:sp>
        <p:nvSpPr>
          <p:cNvPr id="21" name="Text Placeholder 4">
            <a:extLst>
              <a:ext uri="{FF2B5EF4-FFF2-40B4-BE49-F238E27FC236}">
                <a16:creationId xmlns:a16="http://schemas.microsoft.com/office/drawing/2014/main" id="{1CB45BBC-0182-71FB-FA88-62A5D1370902}"/>
              </a:ext>
            </a:extLst>
          </p:cNvPr>
          <p:cNvSpPr txBox="1">
            <a:spLocks/>
          </p:cNvSpPr>
          <p:nvPr/>
        </p:nvSpPr>
        <p:spPr>
          <a:xfrm>
            <a:off x="724334" y="6303962"/>
            <a:ext cx="9463087" cy="374650"/>
          </a:xfrm>
          <a:prstGeom prst="rect">
            <a:avLst/>
          </a:prstGeom>
        </p:spPr>
        <p:txBody>
          <a:bodyPr vert="horz" lIns="0" tIns="0" rIns="0" bIns="0" rtlCol="0" anchor="ctr" anchorCtr="0">
            <a:normAutofit/>
          </a:bodyPr>
          <a:lstStyle>
            <a:defPPr>
              <a:defRPr lang="en-US"/>
            </a:defPPr>
            <a:lvl1pPr marL="0" indent="0" algn="l" defTabSz="914400" rtl="0" eaLnBrk="1" latinLnBrk="0" hangingPunct="1">
              <a:lnSpc>
                <a:spcPct val="90000"/>
              </a:lnSpc>
              <a:spcBef>
                <a:spcPts val="1000"/>
              </a:spcBef>
              <a:buFont typeface="Wingdings" panose="05000000000000000000" pitchFamily="2" charset="2"/>
              <a:buNone/>
              <a:defRPr sz="1000" kern="1200" baseline="0">
                <a:solidFill>
                  <a:schemeClr val="tx1">
                    <a:lumMod val="50000"/>
                    <a:lumOff val="50000"/>
                  </a:schemeClr>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0000">
                    <a:lumMod val="50000"/>
                    <a:lumOff val="50000"/>
                  </a:srgbClr>
                </a:solidFill>
                <a:latin typeface="Century Gothic"/>
              </a:rPr>
              <a:t>Source: International Resource Panel (2024), Global Resources Outlook 2024 (https://www.resourcepanel.org/reports/global-resources-outlook-2024)</a:t>
            </a:r>
          </a:p>
        </p:txBody>
      </p:sp>
      <p:sp>
        <p:nvSpPr>
          <p:cNvPr id="22" name="Rectangle 21">
            <a:extLst>
              <a:ext uri="{FF2B5EF4-FFF2-40B4-BE49-F238E27FC236}">
                <a16:creationId xmlns:a16="http://schemas.microsoft.com/office/drawing/2014/main" id="{6FD49EB3-2FE2-0703-17EB-2FB8AAB1B26C}"/>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grpSp>
        <p:nvGrpSpPr>
          <p:cNvPr id="23" name="Group 22">
            <a:extLst>
              <a:ext uri="{FF2B5EF4-FFF2-40B4-BE49-F238E27FC236}">
                <a16:creationId xmlns:a16="http://schemas.microsoft.com/office/drawing/2014/main" id="{DCE1925B-6A35-AD69-AE13-1D6C19D01E54}"/>
              </a:ext>
            </a:extLst>
          </p:cNvPr>
          <p:cNvGrpSpPr/>
          <p:nvPr/>
        </p:nvGrpSpPr>
        <p:grpSpPr>
          <a:xfrm>
            <a:off x="586023" y="4177786"/>
            <a:ext cx="10819879" cy="1341438"/>
            <a:chOff x="271986" y="3873752"/>
            <a:chExt cx="10819879" cy="1341438"/>
          </a:xfrm>
        </p:grpSpPr>
        <p:sp>
          <p:nvSpPr>
            <p:cNvPr id="24" name="Title 2">
              <a:extLst>
                <a:ext uri="{FF2B5EF4-FFF2-40B4-BE49-F238E27FC236}">
                  <a16:creationId xmlns:a16="http://schemas.microsoft.com/office/drawing/2014/main" id="{4B7C97C2-2D80-7E97-983B-D3309705E6D6}"/>
                </a:ext>
              </a:extLst>
            </p:cNvPr>
            <p:cNvSpPr txBox="1">
              <a:spLocks/>
            </p:cNvSpPr>
            <p:nvPr/>
          </p:nvSpPr>
          <p:spPr>
            <a:xfrm>
              <a:off x="271986" y="3873752"/>
              <a:ext cx="4282547"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Reduced environmental impacts </a:t>
              </a:r>
            </a:p>
          </p:txBody>
        </p:sp>
        <p:sp>
          <p:nvSpPr>
            <p:cNvPr id="25" name="Title 2">
              <a:extLst>
                <a:ext uri="{FF2B5EF4-FFF2-40B4-BE49-F238E27FC236}">
                  <a16:creationId xmlns:a16="http://schemas.microsoft.com/office/drawing/2014/main" id="{D0F1800B-06C8-28E5-5AF4-B486F02ACFB9}"/>
                </a:ext>
              </a:extLst>
            </p:cNvPr>
            <p:cNvSpPr txBox="1">
              <a:spLocks/>
            </p:cNvSpPr>
            <p:nvPr/>
          </p:nvSpPr>
          <p:spPr>
            <a:xfrm>
              <a:off x="4667250" y="3873752"/>
              <a:ext cx="6424615" cy="1341438"/>
            </a:xfrm>
            <a:prstGeom prst="rect">
              <a:avLst/>
            </a:prstGeom>
            <a:noFill/>
            <a:ln w="25400">
              <a:noFill/>
            </a:ln>
            <a:effectLst/>
          </p:spPr>
          <p:txBody>
            <a:bodyPr vert="horz" wrap="square" lIns="1440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600"/>
                </a:spcBef>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GHG emissions - 83%</a:t>
              </a:r>
            </a:p>
            <a:p>
              <a:pPr marL="0" indent="0" algn="l">
                <a:spcBef>
                  <a:spcPts val="600"/>
                </a:spcBef>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Energy demand - 27%</a:t>
              </a:r>
            </a:p>
            <a:p>
              <a:pPr marL="0" indent="0" algn="l">
                <a:spcBef>
                  <a:spcPts val="600"/>
                </a:spcBef>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Agricultural land area - 5%</a:t>
              </a:r>
            </a:p>
          </p:txBody>
        </p:sp>
        <p:sp>
          <p:nvSpPr>
            <p:cNvPr id="26" name="Title 2">
              <a:extLst>
                <a:ext uri="{FF2B5EF4-FFF2-40B4-BE49-F238E27FC236}">
                  <a16:creationId xmlns:a16="http://schemas.microsoft.com/office/drawing/2014/main" id="{54D93D56-DA83-1918-A67B-6E175F57392A}"/>
                </a:ext>
              </a:extLst>
            </p:cNvPr>
            <p:cNvSpPr txBox="1">
              <a:spLocks/>
            </p:cNvSpPr>
            <p:nvPr/>
          </p:nvSpPr>
          <p:spPr>
            <a:xfrm>
              <a:off x="4424886" y="3873752"/>
              <a:ext cx="269348"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a:t>
              </a:r>
            </a:p>
          </p:txBody>
        </p:sp>
      </p:grpSp>
      <p:grpSp>
        <p:nvGrpSpPr>
          <p:cNvPr id="27" name="Group 26">
            <a:extLst>
              <a:ext uri="{FF2B5EF4-FFF2-40B4-BE49-F238E27FC236}">
                <a16:creationId xmlns:a16="http://schemas.microsoft.com/office/drawing/2014/main" id="{20702E7C-0FD5-9A64-702E-9FD1D28849F8}"/>
              </a:ext>
            </a:extLst>
          </p:cNvPr>
          <p:cNvGrpSpPr/>
          <p:nvPr/>
        </p:nvGrpSpPr>
        <p:grpSpPr>
          <a:xfrm>
            <a:off x="586023" y="1557308"/>
            <a:ext cx="10819879" cy="575694"/>
            <a:chOff x="271986" y="1253274"/>
            <a:chExt cx="10819879" cy="575694"/>
          </a:xfrm>
        </p:grpSpPr>
        <p:sp>
          <p:nvSpPr>
            <p:cNvPr id="28" name="Title 2">
              <a:extLst>
                <a:ext uri="{FF2B5EF4-FFF2-40B4-BE49-F238E27FC236}">
                  <a16:creationId xmlns:a16="http://schemas.microsoft.com/office/drawing/2014/main" id="{EAAC5404-3631-1246-488F-7B5D807B4E38}"/>
                </a:ext>
              </a:extLst>
            </p:cNvPr>
            <p:cNvSpPr txBox="1">
              <a:spLocks/>
            </p:cNvSpPr>
            <p:nvPr/>
          </p:nvSpPr>
          <p:spPr>
            <a:xfrm>
              <a:off x="271986" y="1253274"/>
              <a:ext cx="4282547"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Growing Economy 	</a:t>
              </a:r>
            </a:p>
          </p:txBody>
        </p:sp>
        <p:sp>
          <p:nvSpPr>
            <p:cNvPr id="29" name="Title 2">
              <a:extLst>
                <a:ext uri="{FF2B5EF4-FFF2-40B4-BE49-F238E27FC236}">
                  <a16:creationId xmlns:a16="http://schemas.microsoft.com/office/drawing/2014/main" id="{1AE4C5A4-9C76-22A6-9967-1EAAF58B0EC4}"/>
                </a:ext>
              </a:extLst>
            </p:cNvPr>
            <p:cNvSpPr txBox="1">
              <a:spLocks/>
            </p:cNvSpPr>
            <p:nvPr/>
          </p:nvSpPr>
          <p:spPr>
            <a:xfrm>
              <a:off x="4667250" y="1253274"/>
              <a:ext cx="6424615" cy="575694"/>
            </a:xfrm>
            <a:prstGeom prst="rect">
              <a:avLst/>
            </a:prstGeom>
            <a:noFill/>
            <a:ln w="25400">
              <a:noFill/>
            </a:ln>
            <a:effectLst/>
          </p:spPr>
          <p:txBody>
            <a:bodyPr vert="horz" wrap="square" lIns="1440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 3%</a:t>
              </a:r>
            </a:p>
          </p:txBody>
        </p:sp>
        <p:sp>
          <p:nvSpPr>
            <p:cNvPr id="30" name="Title 2">
              <a:extLst>
                <a:ext uri="{FF2B5EF4-FFF2-40B4-BE49-F238E27FC236}">
                  <a16:creationId xmlns:a16="http://schemas.microsoft.com/office/drawing/2014/main" id="{E49CBFD3-70F6-D3F4-AFE0-9BCDBD64475E}"/>
                </a:ext>
              </a:extLst>
            </p:cNvPr>
            <p:cNvSpPr txBox="1">
              <a:spLocks/>
            </p:cNvSpPr>
            <p:nvPr/>
          </p:nvSpPr>
          <p:spPr>
            <a:xfrm>
              <a:off x="4424886" y="1253274"/>
              <a:ext cx="269348"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a:t>
              </a:r>
            </a:p>
          </p:txBody>
        </p:sp>
      </p:grpSp>
      <p:grpSp>
        <p:nvGrpSpPr>
          <p:cNvPr id="31" name="Group 30">
            <a:extLst>
              <a:ext uri="{FF2B5EF4-FFF2-40B4-BE49-F238E27FC236}">
                <a16:creationId xmlns:a16="http://schemas.microsoft.com/office/drawing/2014/main" id="{812AED77-6F19-5AFA-9C0E-F3C429147DF0}"/>
              </a:ext>
            </a:extLst>
          </p:cNvPr>
          <p:cNvGrpSpPr/>
          <p:nvPr/>
        </p:nvGrpSpPr>
        <p:grpSpPr>
          <a:xfrm>
            <a:off x="586023" y="2212428"/>
            <a:ext cx="10819879" cy="575694"/>
            <a:chOff x="271986" y="1908394"/>
            <a:chExt cx="10819879" cy="575694"/>
          </a:xfrm>
        </p:grpSpPr>
        <p:sp>
          <p:nvSpPr>
            <p:cNvPr id="32" name="Title 2">
              <a:extLst>
                <a:ext uri="{FF2B5EF4-FFF2-40B4-BE49-F238E27FC236}">
                  <a16:creationId xmlns:a16="http://schemas.microsoft.com/office/drawing/2014/main" id="{72E28134-970A-EDE0-1D89-9354B401071F}"/>
                </a:ext>
              </a:extLst>
            </p:cNvPr>
            <p:cNvSpPr txBox="1">
              <a:spLocks/>
            </p:cNvSpPr>
            <p:nvPr/>
          </p:nvSpPr>
          <p:spPr>
            <a:xfrm>
              <a:off x="271986" y="1908394"/>
              <a:ext cx="4282547"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Reduced inequality </a:t>
              </a:r>
            </a:p>
          </p:txBody>
        </p:sp>
        <p:sp>
          <p:nvSpPr>
            <p:cNvPr id="33" name="Title 2">
              <a:extLst>
                <a:ext uri="{FF2B5EF4-FFF2-40B4-BE49-F238E27FC236}">
                  <a16:creationId xmlns:a16="http://schemas.microsoft.com/office/drawing/2014/main" id="{D61F66DA-797C-DC03-CD1E-B9E5566B596A}"/>
                </a:ext>
              </a:extLst>
            </p:cNvPr>
            <p:cNvSpPr txBox="1">
              <a:spLocks/>
            </p:cNvSpPr>
            <p:nvPr/>
          </p:nvSpPr>
          <p:spPr>
            <a:xfrm>
              <a:off x="4667250" y="1908394"/>
              <a:ext cx="6424615" cy="575694"/>
            </a:xfrm>
            <a:prstGeom prst="rect">
              <a:avLst/>
            </a:prstGeom>
            <a:noFill/>
            <a:ln w="25400">
              <a:noFill/>
            </a:ln>
            <a:effectLst/>
          </p:spPr>
          <p:txBody>
            <a:bodyPr vert="horz" wrap="square" lIns="1440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Lower income group Material Footprint gap</a:t>
              </a:r>
            </a:p>
          </p:txBody>
        </p:sp>
        <p:sp>
          <p:nvSpPr>
            <p:cNvPr id="34" name="Title 2">
              <a:extLst>
                <a:ext uri="{FF2B5EF4-FFF2-40B4-BE49-F238E27FC236}">
                  <a16:creationId xmlns:a16="http://schemas.microsoft.com/office/drawing/2014/main" id="{DAB63CF4-2AAD-B43D-BBAA-A98443B6897B}"/>
                </a:ext>
              </a:extLst>
            </p:cNvPr>
            <p:cNvSpPr txBox="1">
              <a:spLocks/>
            </p:cNvSpPr>
            <p:nvPr/>
          </p:nvSpPr>
          <p:spPr>
            <a:xfrm>
              <a:off x="4424886" y="1908394"/>
              <a:ext cx="269348"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a:t>
              </a:r>
            </a:p>
          </p:txBody>
        </p:sp>
      </p:grpSp>
      <p:grpSp>
        <p:nvGrpSpPr>
          <p:cNvPr id="35" name="Group 34">
            <a:extLst>
              <a:ext uri="{FF2B5EF4-FFF2-40B4-BE49-F238E27FC236}">
                <a16:creationId xmlns:a16="http://schemas.microsoft.com/office/drawing/2014/main" id="{C77562CA-E04E-72F1-34F2-94E19EC78E7F}"/>
              </a:ext>
            </a:extLst>
          </p:cNvPr>
          <p:cNvGrpSpPr/>
          <p:nvPr/>
        </p:nvGrpSpPr>
        <p:grpSpPr>
          <a:xfrm>
            <a:off x="586023" y="2867548"/>
            <a:ext cx="10819879" cy="575694"/>
            <a:chOff x="271986" y="2563514"/>
            <a:chExt cx="10819879" cy="575694"/>
          </a:xfrm>
        </p:grpSpPr>
        <p:sp>
          <p:nvSpPr>
            <p:cNvPr id="36" name="Title 2">
              <a:extLst>
                <a:ext uri="{FF2B5EF4-FFF2-40B4-BE49-F238E27FC236}">
                  <a16:creationId xmlns:a16="http://schemas.microsoft.com/office/drawing/2014/main" id="{30C6BA25-1784-8A06-7AA8-8704863CD9D2}"/>
                </a:ext>
              </a:extLst>
            </p:cNvPr>
            <p:cNvSpPr txBox="1">
              <a:spLocks/>
            </p:cNvSpPr>
            <p:nvPr/>
          </p:nvSpPr>
          <p:spPr>
            <a:xfrm>
              <a:off x="271986" y="2563514"/>
              <a:ext cx="4282547"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Improved wellbeing </a:t>
              </a:r>
            </a:p>
          </p:txBody>
        </p:sp>
        <p:sp>
          <p:nvSpPr>
            <p:cNvPr id="37" name="Title 2">
              <a:extLst>
                <a:ext uri="{FF2B5EF4-FFF2-40B4-BE49-F238E27FC236}">
                  <a16:creationId xmlns:a16="http://schemas.microsoft.com/office/drawing/2014/main" id="{18DF43FE-F5EE-38E7-12CC-8828576B909A}"/>
                </a:ext>
              </a:extLst>
            </p:cNvPr>
            <p:cNvSpPr txBox="1">
              <a:spLocks/>
            </p:cNvSpPr>
            <p:nvPr/>
          </p:nvSpPr>
          <p:spPr>
            <a:xfrm>
              <a:off x="4667250" y="2563514"/>
              <a:ext cx="6424615" cy="575694"/>
            </a:xfrm>
            <a:prstGeom prst="rect">
              <a:avLst/>
            </a:prstGeom>
            <a:noFill/>
            <a:ln w="25400">
              <a:noFill/>
            </a:ln>
            <a:effectLst/>
          </p:spPr>
          <p:txBody>
            <a:bodyPr vert="horz" wrap="square" lIns="1440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Higher HDI all income groups</a:t>
              </a:r>
            </a:p>
          </p:txBody>
        </p:sp>
        <p:sp>
          <p:nvSpPr>
            <p:cNvPr id="38" name="Title 2">
              <a:extLst>
                <a:ext uri="{FF2B5EF4-FFF2-40B4-BE49-F238E27FC236}">
                  <a16:creationId xmlns:a16="http://schemas.microsoft.com/office/drawing/2014/main" id="{5B608FAF-C850-C2F2-100C-435A90B22A47}"/>
                </a:ext>
              </a:extLst>
            </p:cNvPr>
            <p:cNvSpPr txBox="1">
              <a:spLocks/>
            </p:cNvSpPr>
            <p:nvPr/>
          </p:nvSpPr>
          <p:spPr>
            <a:xfrm>
              <a:off x="4424886" y="2563514"/>
              <a:ext cx="269348"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a:t>
              </a:r>
            </a:p>
          </p:txBody>
        </p:sp>
      </p:grpSp>
      <p:grpSp>
        <p:nvGrpSpPr>
          <p:cNvPr id="39" name="Group 38">
            <a:extLst>
              <a:ext uri="{FF2B5EF4-FFF2-40B4-BE49-F238E27FC236}">
                <a16:creationId xmlns:a16="http://schemas.microsoft.com/office/drawing/2014/main" id="{11FB3EA9-6438-D92C-8D2B-A0C44108544C}"/>
              </a:ext>
            </a:extLst>
          </p:cNvPr>
          <p:cNvGrpSpPr/>
          <p:nvPr/>
        </p:nvGrpSpPr>
        <p:grpSpPr>
          <a:xfrm>
            <a:off x="586023" y="3522668"/>
            <a:ext cx="10819879" cy="575694"/>
            <a:chOff x="271986" y="3218634"/>
            <a:chExt cx="10819879" cy="575694"/>
          </a:xfrm>
        </p:grpSpPr>
        <p:sp>
          <p:nvSpPr>
            <p:cNvPr id="40" name="Title 2">
              <a:extLst>
                <a:ext uri="{FF2B5EF4-FFF2-40B4-BE49-F238E27FC236}">
                  <a16:creationId xmlns:a16="http://schemas.microsoft.com/office/drawing/2014/main" id="{A2601CF2-9130-9DF7-CF13-FBCC4C33664B}"/>
                </a:ext>
              </a:extLst>
            </p:cNvPr>
            <p:cNvSpPr txBox="1">
              <a:spLocks/>
            </p:cNvSpPr>
            <p:nvPr/>
          </p:nvSpPr>
          <p:spPr>
            <a:xfrm>
              <a:off x="271986" y="3218634"/>
              <a:ext cx="4282547"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Reduced growth in resource use </a:t>
              </a:r>
            </a:p>
          </p:txBody>
        </p:sp>
        <p:sp>
          <p:nvSpPr>
            <p:cNvPr id="41" name="Title 2">
              <a:extLst>
                <a:ext uri="{FF2B5EF4-FFF2-40B4-BE49-F238E27FC236}">
                  <a16:creationId xmlns:a16="http://schemas.microsoft.com/office/drawing/2014/main" id="{E141678C-5404-DBDE-3553-EEEA64FE9669}"/>
                </a:ext>
              </a:extLst>
            </p:cNvPr>
            <p:cNvSpPr txBox="1">
              <a:spLocks/>
            </p:cNvSpPr>
            <p:nvPr/>
          </p:nvSpPr>
          <p:spPr>
            <a:xfrm>
              <a:off x="4667250" y="3218634"/>
              <a:ext cx="6424615" cy="575694"/>
            </a:xfrm>
            <a:prstGeom prst="rect">
              <a:avLst/>
            </a:prstGeom>
            <a:noFill/>
            <a:ln w="25400">
              <a:noFill/>
            </a:ln>
            <a:effectLst/>
          </p:spPr>
          <p:txBody>
            <a:bodyPr vert="horz" wrap="square" lIns="1440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b="0" dirty="0">
                  <a:solidFill>
                    <a:srgbClr val="000000"/>
                  </a:solidFill>
                  <a:effectLst/>
                  <a:latin typeface="Century Gothic" panose="020B0502020202020204" pitchFamily="34" charset="0"/>
                  <a:ea typeface="Calibri" panose="020F0502020204030204" pitchFamily="34" charset="0"/>
                  <a:cs typeface="Arial" panose="020B0604020202020204" pitchFamily="34" charset="0"/>
                  <a:sym typeface="Arial"/>
                </a:rPr>
                <a:t>By 30%</a:t>
              </a:r>
            </a:p>
          </p:txBody>
        </p:sp>
        <p:sp>
          <p:nvSpPr>
            <p:cNvPr id="42" name="Title 2">
              <a:extLst>
                <a:ext uri="{FF2B5EF4-FFF2-40B4-BE49-F238E27FC236}">
                  <a16:creationId xmlns:a16="http://schemas.microsoft.com/office/drawing/2014/main" id="{22B1A306-A5B8-7BBF-B877-9A7A2BF94256}"/>
                </a:ext>
              </a:extLst>
            </p:cNvPr>
            <p:cNvSpPr txBox="1">
              <a:spLocks/>
            </p:cNvSpPr>
            <p:nvPr/>
          </p:nvSpPr>
          <p:spPr>
            <a:xfrm>
              <a:off x="4424886" y="3218634"/>
              <a:ext cx="269348" cy="575694"/>
            </a:xfrm>
            <a:prstGeom prst="rect">
              <a:avLst/>
            </a:prstGeom>
            <a:noFill/>
            <a:ln w="25400">
              <a:noFill/>
            </a:ln>
            <a:effectLst/>
          </p:spPr>
          <p:txBody>
            <a:bodyPr vert="horz" wrap="square" lIns="76200" tIns="76200" rIns="76200" bIns="76200" rtlCol="0" anchor="ctr"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lgn="l">
                <a:spcBef>
                  <a:spcPts val="1200"/>
                </a:spcBef>
                <a:spcAft>
                  <a:spcPts val="1200"/>
                </a:spcAft>
                <a:buClr>
                  <a:srgbClr val="00146D"/>
                </a:buClr>
                <a:buSzPct val="100000"/>
                <a:buFont typeface="Georgia" pitchFamily="18" charset="0"/>
                <a:buNone/>
              </a:pPr>
              <a:r>
                <a:rPr lang="en-US" sz="2000" dirty="0">
                  <a:solidFill>
                    <a:srgbClr val="00146D"/>
                  </a:solidFill>
                  <a:effectLst/>
                  <a:latin typeface="Century Gothic" panose="020B0502020202020204" pitchFamily="34" charset="0"/>
                  <a:ea typeface="Calibri" panose="020F0502020204030204" pitchFamily="34" charset="0"/>
                  <a:cs typeface="Arial" panose="020B0604020202020204" pitchFamily="34" charset="0"/>
                  <a:sym typeface="Arial"/>
                </a:rPr>
                <a:t>:</a:t>
              </a:r>
            </a:p>
          </p:txBody>
        </p:sp>
      </p:grpSp>
      <p:sp>
        <p:nvSpPr>
          <p:cNvPr id="3" name="TextBox 2">
            <a:extLst>
              <a:ext uri="{FF2B5EF4-FFF2-40B4-BE49-F238E27FC236}">
                <a16:creationId xmlns:a16="http://schemas.microsoft.com/office/drawing/2014/main" id="{7EB728ED-8806-F0F9-5222-82A87532E50E}"/>
              </a:ext>
            </a:extLst>
          </p:cNvPr>
          <p:cNvSpPr txBox="1"/>
          <p:nvPr/>
        </p:nvSpPr>
        <p:spPr>
          <a:xfrm>
            <a:off x="724333" y="1208578"/>
            <a:ext cx="10881644" cy="276999"/>
          </a:xfrm>
          <a:prstGeom prst="rect">
            <a:avLst/>
          </a:prstGeom>
          <a:noFill/>
        </p:spPr>
        <p:txBody>
          <a:bodyPr wrap="square" lIns="0" tIns="0" rIns="0" bIns="0" rtlCol="0">
            <a:spAutoFit/>
          </a:bodyPr>
          <a:lstStyle/>
          <a:p>
            <a:pPr algn="l"/>
            <a:r>
              <a:rPr lang="en-GB" i="1" dirty="0"/>
              <a:t>2060 outcomes from Sustainability Transition scenario, compared to continued Historical Trends:</a:t>
            </a:r>
          </a:p>
        </p:txBody>
      </p:sp>
    </p:spTree>
    <p:extLst>
      <p:ext uri="{BB962C8B-B14F-4D97-AF65-F5344CB8AC3E}">
        <p14:creationId xmlns:p14="http://schemas.microsoft.com/office/powerpoint/2010/main" val="819918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81F1AD-A105-1DE4-5ABB-B0B7A55F4B21}"/>
              </a:ext>
            </a:extLst>
          </p:cNvPr>
          <p:cNvGraphicFramePr>
            <a:graphicFrameLocks noChangeAspect="1"/>
          </p:cNvGraphicFramePr>
          <p:nvPr>
            <p:custDataLst>
              <p:tags r:id="rId1"/>
            </p:custDataLst>
            <p:extLst>
              <p:ext uri="{D42A27DB-BD31-4B8C-83A1-F6EECF244321}">
                <p14:modId xmlns:p14="http://schemas.microsoft.com/office/powerpoint/2010/main" val="2319770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8" name="think-cell data - do not delete" hidden="1">
                        <a:extLst>
                          <a:ext uri="{FF2B5EF4-FFF2-40B4-BE49-F238E27FC236}">
                            <a16:creationId xmlns:a16="http://schemas.microsoft.com/office/drawing/2014/main" id="{1881F1AD-A105-1DE4-5ABB-B0B7A55F4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BC394D-B18F-8540-1CD1-7EE40EC3FFAA}"/>
              </a:ext>
            </a:extLst>
          </p:cNvPr>
          <p:cNvSpPr>
            <a:spLocks noGrp="1"/>
          </p:cNvSpPr>
          <p:nvPr>
            <p:ph type="title"/>
          </p:nvPr>
        </p:nvSpPr>
        <p:spPr>
          <a:xfrm>
            <a:off x="180975" y="115750"/>
            <a:ext cx="11831639" cy="708715"/>
          </a:xfrm>
        </p:spPr>
        <p:txBody>
          <a:bodyPr vert="horz">
            <a:normAutofit fontScale="90000"/>
          </a:bodyPr>
          <a:lstStyle/>
          <a:p>
            <a:r>
              <a:rPr lang="en-GB" dirty="0"/>
              <a:t>Bold policy action can make the Sustainability Transition Scenario real</a:t>
            </a:r>
          </a:p>
        </p:txBody>
      </p:sp>
      <p:sp>
        <p:nvSpPr>
          <p:cNvPr id="6" name="Text Placeholder 4">
            <a:extLst>
              <a:ext uri="{FF2B5EF4-FFF2-40B4-BE49-F238E27FC236}">
                <a16:creationId xmlns:a16="http://schemas.microsoft.com/office/drawing/2014/main" id="{EF101844-6257-57B4-684B-9E8EB031D66D}"/>
              </a:ext>
            </a:extLst>
          </p:cNvPr>
          <p:cNvSpPr txBox="1">
            <a:spLocks/>
          </p:cNvSpPr>
          <p:nvPr/>
        </p:nvSpPr>
        <p:spPr>
          <a:xfrm>
            <a:off x="724334" y="6303962"/>
            <a:ext cx="9463087" cy="374650"/>
          </a:xfrm>
          <a:prstGeom prst="rect">
            <a:avLst/>
          </a:prstGeom>
        </p:spPr>
        <p:txBody>
          <a:bodyPr vert="horz" lIns="0" tIns="0" rIns="0" bIns="0" rtlCol="0" anchor="ctr" anchorCtr="0">
            <a:normAutofit/>
          </a:bodyPr>
          <a:lstStyle>
            <a:defPPr>
              <a:defRPr lang="en-US"/>
            </a:defPPr>
            <a:lvl1pPr marL="0" indent="0" algn="l" defTabSz="914400" rtl="0" eaLnBrk="1" latinLnBrk="0" hangingPunct="1">
              <a:lnSpc>
                <a:spcPct val="90000"/>
              </a:lnSpc>
              <a:spcBef>
                <a:spcPts val="1000"/>
              </a:spcBef>
              <a:buFont typeface="Wingdings" panose="05000000000000000000" pitchFamily="2" charset="2"/>
              <a:buNone/>
              <a:defRPr sz="1000" kern="1200" baseline="0">
                <a:solidFill>
                  <a:schemeClr val="tx1">
                    <a:lumMod val="50000"/>
                    <a:lumOff val="50000"/>
                  </a:schemeClr>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000000">
                    <a:lumMod val="50000"/>
                    <a:lumOff val="50000"/>
                  </a:srgbClr>
                </a:solidFill>
                <a:latin typeface="Century Gothic"/>
              </a:rPr>
              <a:t>Source: International Resource Panel (2024), Global Resources Outlook 2024 (https://www.resourcepanel.org/reports/global-resources-outlook-2024)</a:t>
            </a:r>
          </a:p>
        </p:txBody>
      </p:sp>
      <p:grpSp>
        <p:nvGrpSpPr>
          <p:cNvPr id="24" name="Group 23">
            <a:extLst>
              <a:ext uri="{FF2B5EF4-FFF2-40B4-BE49-F238E27FC236}">
                <a16:creationId xmlns:a16="http://schemas.microsoft.com/office/drawing/2014/main" id="{04BA4E47-4B5C-2293-6ABE-0F86114EE3E2}"/>
              </a:ext>
            </a:extLst>
          </p:cNvPr>
          <p:cNvGrpSpPr/>
          <p:nvPr/>
        </p:nvGrpSpPr>
        <p:grpSpPr>
          <a:xfrm>
            <a:off x="179386" y="960258"/>
            <a:ext cx="2289553" cy="5263598"/>
            <a:chOff x="179386" y="960258"/>
            <a:chExt cx="2289553" cy="5263598"/>
          </a:xfrm>
        </p:grpSpPr>
        <p:sp>
          <p:nvSpPr>
            <p:cNvPr id="25" name="TextBox 24">
              <a:extLst>
                <a:ext uri="{FF2B5EF4-FFF2-40B4-BE49-F238E27FC236}">
                  <a16:creationId xmlns:a16="http://schemas.microsoft.com/office/drawing/2014/main" id="{5EBE7BF8-8814-B510-B98B-91B9A4D10F3A}"/>
                </a:ext>
              </a:extLst>
            </p:cNvPr>
            <p:cNvSpPr txBox="1">
              <a:spLocks/>
            </p:cNvSpPr>
            <p:nvPr/>
          </p:nvSpPr>
          <p:spPr>
            <a:xfrm>
              <a:off x="179386" y="2668518"/>
              <a:ext cx="2289553" cy="3555338"/>
            </a:xfrm>
            <a:prstGeom prst="rect">
              <a:avLst/>
            </a:prstGeom>
            <a:solidFill>
              <a:srgbClr val="FFFFFF">
                <a:lumMod val="95000"/>
              </a:srgbClr>
            </a:solidFill>
          </p:spPr>
          <p:txBody>
            <a:bodyPr wrap="square">
              <a:noAutofit/>
            </a:bodyPr>
            <a:lstStyle/>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Global and national institutionalization of natural resource use within global sustainability agendas and action on environmental agreements</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Definition of global and national resource use paths</a:t>
              </a:r>
            </a:p>
          </p:txBody>
        </p:sp>
        <p:sp>
          <p:nvSpPr>
            <p:cNvPr id="26" name="TextBox 25">
              <a:extLst>
                <a:ext uri="{FF2B5EF4-FFF2-40B4-BE49-F238E27FC236}">
                  <a16:creationId xmlns:a16="http://schemas.microsoft.com/office/drawing/2014/main" id="{65891955-207B-F00E-2EB7-5CBB0CF43BC0}"/>
                </a:ext>
              </a:extLst>
            </p:cNvPr>
            <p:cNvSpPr txBox="1">
              <a:spLocks/>
            </p:cNvSpPr>
            <p:nvPr/>
          </p:nvSpPr>
          <p:spPr>
            <a:xfrm>
              <a:off x="179386" y="1542672"/>
              <a:ext cx="2289553" cy="1101838"/>
            </a:xfrm>
            <a:prstGeom prst="rect">
              <a:avLst/>
            </a:prstGeom>
            <a:solidFill>
              <a:srgbClr val="00146D"/>
            </a:solidFill>
            <a:ln w="25400">
              <a:noFill/>
            </a:ln>
          </p:spPr>
          <p:txBody>
            <a:bodyPr wrap="square" lIns="76200" tIns="76200" rIns="76200" bIns="76200" anchor="ctr">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Institutionalizing resource governance </a:t>
              </a:r>
              <a:b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b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and defining </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resource </a:t>
              </a:r>
              <a:b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b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use paths</a:t>
              </a:r>
            </a:p>
          </p:txBody>
        </p:sp>
        <p:grpSp>
          <p:nvGrpSpPr>
            <p:cNvPr id="27" name="Group 26">
              <a:extLst>
                <a:ext uri="{FF2B5EF4-FFF2-40B4-BE49-F238E27FC236}">
                  <a16:creationId xmlns:a16="http://schemas.microsoft.com/office/drawing/2014/main" id="{C6B9E739-178A-5F97-063E-DA025C791D2E}"/>
                </a:ext>
              </a:extLst>
            </p:cNvPr>
            <p:cNvGrpSpPr/>
            <p:nvPr/>
          </p:nvGrpSpPr>
          <p:grpSpPr>
            <a:xfrm>
              <a:off x="1001097" y="960258"/>
              <a:ext cx="646130" cy="646128"/>
              <a:chOff x="882072" y="1067437"/>
              <a:chExt cx="646130" cy="646128"/>
            </a:xfrm>
          </p:grpSpPr>
          <p:sp>
            <p:nvSpPr>
              <p:cNvPr id="28" name="Oval 27">
                <a:extLst>
                  <a:ext uri="{FF2B5EF4-FFF2-40B4-BE49-F238E27FC236}">
                    <a16:creationId xmlns:a16="http://schemas.microsoft.com/office/drawing/2014/main" id="{BE2A6900-B576-FD20-3C73-CF9988ED6617}"/>
                  </a:ext>
                </a:extLst>
              </p:cNvPr>
              <p:cNvSpPr>
                <a:spLocks/>
              </p:cNvSpPr>
              <p:nvPr/>
            </p:nvSpPr>
            <p:spPr>
              <a:xfrm>
                <a:off x="882072" y="1067437"/>
                <a:ext cx="646130" cy="646128"/>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1" i="0" u="none" strike="noStrike" kern="0" cap="none" spc="0" normalizeH="0" baseline="0" noProof="0" dirty="0">
                  <a:ln>
                    <a:noFill/>
                  </a:ln>
                  <a:solidFill>
                    <a:srgbClr val="000000"/>
                  </a:solidFill>
                  <a:effectLst/>
                  <a:uLnTx/>
                  <a:uFillTx/>
                  <a:latin typeface="Century Gothic" panose="020B0502020202020204" pitchFamily="34" charset="0"/>
                  <a:sym typeface="Arial"/>
                </a:endParaRPr>
              </a:p>
            </p:txBody>
          </p:sp>
          <p:grpSp>
            <p:nvGrpSpPr>
              <p:cNvPr id="29" name="Group 28">
                <a:extLst>
                  <a:ext uri="{FF2B5EF4-FFF2-40B4-BE49-F238E27FC236}">
                    <a16:creationId xmlns:a16="http://schemas.microsoft.com/office/drawing/2014/main" id="{E0CB4313-641F-DD30-EAA8-D8CC5C04CDD6}"/>
                  </a:ext>
                </a:extLst>
              </p:cNvPr>
              <p:cNvGrpSpPr/>
              <p:nvPr/>
            </p:nvGrpSpPr>
            <p:grpSpPr>
              <a:xfrm>
                <a:off x="1019556" y="1204921"/>
                <a:ext cx="371162" cy="371161"/>
                <a:chOff x="2483039" y="1593484"/>
                <a:chExt cx="371162" cy="371161"/>
              </a:xfrm>
              <a:solidFill>
                <a:srgbClr val="000000"/>
              </a:solidFill>
            </p:grpSpPr>
            <p:sp>
              <p:nvSpPr>
                <p:cNvPr id="30" name="Freeform: Shape 29">
                  <a:extLst>
                    <a:ext uri="{FF2B5EF4-FFF2-40B4-BE49-F238E27FC236}">
                      <a16:creationId xmlns:a16="http://schemas.microsoft.com/office/drawing/2014/main" id="{D02822F8-24C3-30EB-6862-95ACF7932ECC}"/>
                    </a:ext>
                  </a:extLst>
                </p:cNvPr>
                <p:cNvSpPr/>
                <p:nvPr/>
              </p:nvSpPr>
              <p:spPr>
                <a:xfrm>
                  <a:off x="2661370" y="1752002"/>
                  <a:ext cx="14498" cy="14498"/>
                </a:xfrm>
                <a:custGeom>
                  <a:avLst/>
                  <a:gdLst>
                    <a:gd name="connsiteX0" fmla="*/ 7249 w 14498"/>
                    <a:gd name="connsiteY0" fmla="*/ 0 h 14498"/>
                    <a:gd name="connsiteX1" fmla="*/ 0 w 14498"/>
                    <a:gd name="connsiteY1" fmla="*/ 7249 h 14498"/>
                    <a:gd name="connsiteX2" fmla="*/ 7249 w 14498"/>
                    <a:gd name="connsiteY2" fmla="*/ 14499 h 14498"/>
                    <a:gd name="connsiteX3" fmla="*/ 14499 w 14498"/>
                    <a:gd name="connsiteY3" fmla="*/ 7249 h 14498"/>
                    <a:gd name="connsiteX4" fmla="*/ 7249 w 14498"/>
                    <a:gd name="connsiteY4" fmla="*/ 0 h 1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8" h="14498">
                      <a:moveTo>
                        <a:pt x="7249" y="0"/>
                      </a:moveTo>
                      <a:cubicBezTo>
                        <a:pt x="3248" y="0"/>
                        <a:pt x="0" y="3248"/>
                        <a:pt x="0" y="7249"/>
                      </a:cubicBezTo>
                      <a:cubicBezTo>
                        <a:pt x="0" y="11251"/>
                        <a:pt x="3248" y="14499"/>
                        <a:pt x="7249" y="14499"/>
                      </a:cubicBezTo>
                      <a:cubicBezTo>
                        <a:pt x="11251" y="14499"/>
                        <a:pt x="14499" y="11251"/>
                        <a:pt x="14499" y="7249"/>
                      </a:cubicBezTo>
                      <a:cubicBezTo>
                        <a:pt x="14499" y="3248"/>
                        <a:pt x="11251" y="0"/>
                        <a:pt x="7249" y="0"/>
                      </a:cubicBezTo>
                      <a:close/>
                    </a:path>
                  </a:pathLst>
                </a:custGeom>
                <a:grpFill/>
                <a:ln w="70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31" name="Freeform: Shape 30">
                  <a:extLst>
                    <a:ext uri="{FF2B5EF4-FFF2-40B4-BE49-F238E27FC236}">
                      <a16:creationId xmlns:a16="http://schemas.microsoft.com/office/drawing/2014/main" id="{30B54DF2-6533-26FE-4C16-7449CDFF7934}"/>
                    </a:ext>
                  </a:extLst>
                </p:cNvPr>
                <p:cNvSpPr/>
                <p:nvPr/>
              </p:nvSpPr>
              <p:spPr>
                <a:xfrm>
                  <a:off x="2483039" y="1593484"/>
                  <a:ext cx="371162" cy="371161"/>
                </a:xfrm>
                <a:custGeom>
                  <a:avLst/>
                  <a:gdLst>
                    <a:gd name="connsiteX0" fmla="*/ 7249 w 371162"/>
                    <a:gd name="connsiteY0" fmla="*/ 371162 h 371161"/>
                    <a:gd name="connsiteX1" fmla="*/ 363913 w 371162"/>
                    <a:gd name="connsiteY1" fmla="*/ 371162 h 371161"/>
                    <a:gd name="connsiteX2" fmla="*/ 371162 w 371162"/>
                    <a:gd name="connsiteY2" fmla="*/ 363913 h 371161"/>
                    <a:gd name="connsiteX3" fmla="*/ 371162 w 371162"/>
                    <a:gd name="connsiteY3" fmla="*/ 334916 h 371161"/>
                    <a:gd name="connsiteX4" fmla="*/ 363913 w 371162"/>
                    <a:gd name="connsiteY4" fmla="*/ 327666 h 371161"/>
                    <a:gd name="connsiteX5" fmla="*/ 356664 w 371162"/>
                    <a:gd name="connsiteY5" fmla="*/ 327666 h 371161"/>
                    <a:gd name="connsiteX6" fmla="*/ 356664 w 371162"/>
                    <a:gd name="connsiteY6" fmla="*/ 305919 h 371161"/>
                    <a:gd name="connsiteX7" fmla="*/ 349414 w 371162"/>
                    <a:gd name="connsiteY7" fmla="*/ 298669 h 371161"/>
                    <a:gd name="connsiteX8" fmla="*/ 342165 w 371162"/>
                    <a:gd name="connsiteY8" fmla="*/ 298669 h 371161"/>
                    <a:gd name="connsiteX9" fmla="*/ 342165 w 371162"/>
                    <a:gd name="connsiteY9" fmla="*/ 276922 h 371161"/>
                    <a:gd name="connsiteX10" fmla="*/ 334916 w 371162"/>
                    <a:gd name="connsiteY10" fmla="*/ 269672 h 371161"/>
                    <a:gd name="connsiteX11" fmla="*/ 327666 w 371162"/>
                    <a:gd name="connsiteY11" fmla="*/ 269672 h 371161"/>
                    <a:gd name="connsiteX12" fmla="*/ 327666 w 371162"/>
                    <a:gd name="connsiteY12" fmla="*/ 188481 h 371161"/>
                    <a:gd name="connsiteX13" fmla="*/ 334916 w 371162"/>
                    <a:gd name="connsiteY13" fmla="*/ 188481 h 371161"/>
                    <a:gd name="connsiteX14" fmla="*/ 342165 w 371162"/>
                    <a:gd name="connsiteY14" fmla="*/ 181231 h 371161"/>
                    <a:gd name="connsiteX15" fmla="*/ 342165 w 371162"/>
                    <a:gd name="connsiteY15" fmla="*/ 159484 h 371161"/>
                    <a:gd name="connsiteX16" fmla="*/ 363913 w 371162"/>
                    <a:gd name="connsiteY16" fmla="*/ 159484 h 371161"/>
                    <a:gd name="connsiteX17" fmla="*/ 371162 w 371162"/>
                    <a:gd name="connsiteY17" fmla="*/ 152234 h 371161"/>
                    <a:gd name="connsiteX18" fmla="*/ 371162 w 371162"/>
                    <a:gd name="connsiteY18" fmla="*/ 123237 h 371161"/>
                    <a:gd name="connsiteX19" fmla="*/ 371157 w 371162"/>
                    <a:gd name="connsiteY19" fmla="*/ 123137 h 371161"/>
                    <a:gd name="connsiteX20" fmla="*/ 367910 w 371162"/>
                    <a:gd name="connsiteY20" fmla="*/ 117192 h 371161"/>
                    <a:gd name="connsiteX21" fmla="*/ 367865 w 371162"/>
                    <a:gd name="connsiteY21" fmla="*/ 117160 h 371161"/>
                    <a:gd name="connsiteX22" fmla="*/ 189533 w 371162"/>
                    <a:gd name="connsiteY22" fmla="*/ 1172 h 371161"/>
                    <a:gd name="connsiteX23" fmla="*/ 181629 w 371162"/>
                    <a:gd name="connsiteY23" fmla="*/ 1172 h 371161"/>
                    <a:gd name="connsiteX24" fmla="*/ 3297 w 371162"/>
                    <a:gd name="connsiteY24" fmla="*/ 117160 h 371161"/>
                    <a:gd name="connsiteX25" fmla="*/ 0 w 371162"/>
                    <a:gd name="connsiteY25" fmla="*/ 123237 h 371161"/>
                    <a:gd name="connsiteX26" fmla="*/ 0 w 371162"/>
                    <a:gd name="connsiteY26" fmla="*/ 152234 h 371161"/>
                    <a:gd name="connsiteX27" fmla="*/ 7249 w 371162"/>
                    <a:gd name="connsiteY27" fmla="*/ 159484 h 371161"/>
                    <a:gd name="connsiteX28" fmla="*/ 28997 w 371162"/>
                    <a:gd name="connsiteY28" fmla="*/ 159484 h 371161"/>
                    <a:gd name="connsiteX29" fmla="*/ 28997 w 371162"/>
                    <a:gd name="connsiteY29" fmla="*/ 181231 h 371161"/>
                    <a:gd name="connsiteX30" fmla="*/ 36246 w 371162"/>
                    <a:gd name="connsiteY30" fmla="*/ 188481 h 371161"/>
                    <a:gd name="connsiteX31" fmla="*/ 43496 w 371162"/>
                    <a:gd name="connsiteY31" fmla="*/ 188481 h 371161"/>
                    <a:gd name="connsiteX32" fmla="*/ 43496 w 371162"/>
                    <a:gd name="connsiteY32" fmla="*/ 269672 h 371161"/>
                    <a:gd name="connsiteX33" fmla="*/ 36246 w 371162"/>
                    <a:gd name="connsiteY33" fmla="*/ 269672 h 371161"/>
                    <a:gd name="connsiteX34" fmla="*/ 28997 w 371162"/>
                    <a:gd name="connsiteY34" fmla="*/ 276922 h 371161"/>
                    <a:gd name="connsiteX35" fmla="*/ 28997 w 371162"/>
                    <a:gd name="connsiteY35" fmla="*/ 298669 h 371161"/>
                    <a:gd name="connsiteX36" fmla="*/ 21748 w 371162"/>
                    <a:gd name="connsiteY36" fmla="*/ 298669 h 371161"/>
                    <a:gd name="connsiteX37" fmla="*/ 14499 w 371162"/>
                    <a:gd name="connsiteY37" fmla="*/ 305919 h 371161"/>
                    <a:gd name="connsiteX38" fmla="*/ 14499 w 371162"/>
                    <a:gd name="connsiteY38" fmla="*/ 327666 h 371161"/>
                    <a:gd name="connsiteX39" fmla="*/ 7249 w 371162"/>
                    <a:gd name="connsiteY39" fmla="*/ 327666 h 371161"/>
                    <a:gd name="connsiteX40" fmla="*/ 0 w 371162"/>
                    <a:gd name="connsiteY40" fmla="*/ 334916 h 371161"/>
                    <a:gd name="connsiteX41" fmla="*/ 0 w 371162"/>
                    <a:gd name="connsiteY41" fmla="*/ 363913 h 371161"/>
                    <a:gd name="connsiteX42" fmla="*/ 7249 w 371162"/>
                    <a:gd name="connsiteY42" fmla="*/ 371162 h 371161"/>
                    <a:gd name="connsiteX43" fmla="*/ 255174 w 371162"/>
                    <a:gd name="connsiteY43" fmla="*/ 327666 h 371161"/>
                    <a:gd name="connsiteX44" fmla="*/ 255174 w 371162"/>
                    <a:gd name="connsiteY44" fmla="*/ 313168 h 371161"/>
                    <a:gd name="connsiteX45" fmla="*/ 342165 w 371162"/>
                    <a:gd name="connsiteY45" fmla="*/ 313168 h 371161"/>
                    <a:gd name="connsiteX46" fmla="*/ 342165 w 371162"/>
                    <a:gd name="connsiteY46" fmla="*/ 327666 h 371161"/>
                    <a:gd name="connsiteX47" fmla="*/ 255174 w 371162"/>
                    <a:gd name="connsiteY47" fmla="*/ 327666 h 371161"/>
                    <a:gd name="connsiteX48" fmla="*/ 130487 w 371162"/>
                    <a:gd name="connsiteY48" fmla="*/ 327666 h 371161"/>
                    <a:gd name="connsiteX49" fmla="*/ 130487 w 371162"/>
                    <a:gd name="connsiteY49" fmla="*/ 313168 h 371161"/>
                    <a:gd name="connsiteX50" fmla="*/ 240675 w 371162"/>
                    <a:gd name="connsiteY50" fmla="*/ 313168 h 371161"/>
                    <a:gd name="connsiteX51" fmla="*/ 240675 w 371162"/>
                    <a:gd name="connsiteY51" fmla="*/ 327666 h 371161"/>
                    <a:gd name="connsiteX52" fmla="*/ 130487 w 371162"/>
                    <a:gd name="connsiteY52" fmla="*/ 327666 h 371161"/>
                    <a:gd name="connsiteX53" fmla="*/ 108739 w 371162"/>
                    <a:gd name="connsiteY53" fmla="*/ 269672 h 371161"/>
                    <a:gd name="connsiteX54" fmla="*/ 101490 w 371162"/>
                    <a:gd name="connsiteY54" fmla="*/ 269672 h 371161"/>
                    <a:gd name="connsiteX55" fmla="*/ 101490 w 371162"/>
                    <a:gd name="connsiteY55" fmla="*/ 188481 h 371161"/>
                    <a:gd name="connsiteX56" fmla="*/ 108739 w 371162"/>
                    <a:gd name="connsiteY56" fmla="*/ 188481 h 371161"/>
                    <a:gd name="connsiteX57" fmla="*/ 115988 w 371162"/>
                    <a:gd name="connsiteY57" fmla="*/ 181231 h 371161"/>
                    <a:gd name="connsiteX58" fmla="*/ 115988 w 371162"/>
                    <a:gd name="connsiteY58" fmla="*/ 159484 h 371161"/>
                    <a:gd name="connsiteX59" fmla="*/ 255174 w 371162"/>
                    <a:gd name="connsiteY59" fmla="*/ 159484 h 371161"/>
                    <a:gd name="connsiteX60" fmla="*/ 255174 w 371162"/>
                    <a:gd name="connsiteY60" fmla="*/ 181231 h 371161"/>
                    <a:gd name="connsiteX61" fmla="*/ 262423 w 371162"/>
                    <a:gd name="connsiteY61" fmla="*/ 188481 h 371161"/>
                    <a:gd name="connsiteX62" fmla="*/ 269672 w 371162"/>
                    <a:gd name="connsiteY62" fmla="*/ 188481 h 371161"/>
                    <a:gd name="connsiteX63" fmla="*/ 269672 w 371162"/>
                    <a:gd name="connsiteY63" fmla="*/ 269672 h 371161"/>
                    <a:gd name="connsiteX64" fmla="*/ 262423 w 371162"/>
                    <a:gd name="connsiteY64" fmla="*/ 269672 h 371161"/>
                    <a:gd name="connsiteX65" fmla="*/ 255174 w 371162"/>
                    <a:gd name="connsiteY65" fmla="*/ 276922 h 371161"/>
                    <a:gd name="connsiteX66" fmla="*/ 255174 w 371162"/>
                    <a:gd name="connsiteY66" fmla="*/ 298669 h 371161"/>
                    <a:gd name="connsiteX67" fmla="*/ 240675 w 371162"/>
                    <a:gd name="connsiteY67" fmla="*/ 298669 h 371161"/>
                    <a:gd name="connsiteX68" fmla="*/ 240675 w 371162"/>
                    <a:gd name="connsiteY68" fmla="*/ 181231 h 371161"/>
                    <a:gd name="connsiteX69" fmla="*/ 233426 w 371162"/>
                    <a:gd name="connsiteY69" fmla="*/ 173982 h 371161"/>
                    <a:gd name="connsiteX70" fmla="*/ 137736 w 371162"/>
                    <a:gd name="connsiteY70" fmla="*/ 173982 h 371161"/>
                    <a:gd name="connsiteX71" fmla="*/ 130487 w 371162"/>
                    <a:gd name="connsiteY71" fmla="*/ 181231 h 371161"/>
                    <a:gd name="connsiteX72" fmla="*/ 130487 w 371162"/>
                    <a:gd name="connsiteY72" fmla="*/ 298669 h 371161"/>
                    <a:gd name="connsiteX73" fmla="*/ 115988 w 371162"/>
                    <a:gd name="connsiteY73" fmla="*/ 298669 h 371161"/>
                    <a:gd name="connsiteX74" fmla="*/ 115988 w 371162"/>
                    <a:gd name="connsiteY74" fmla="*/ 276922 h 371161"/>
                    <a:gd name="connsiteX75" fmla="*/ 108739 w 371162"/>
                    <a:gd name="connsiteY75" fmla="*/ 269672 h 371161"/>
                    <a:gd name="connsiteX76" fmla="*/ 192830 w 371162"/>
                    <a:gd name="connsiteY76" fmla="*/ 298669 h 371161"/>
                    <a:gd name="connsiteX77" fmla="*/ 192830 w 371162"/>
                    <a:gd name="connsiteY77" fmla="*/ 188481 h 371161"/>
                    <a:gd name="connsiteX78" fmla="*/ 226177 w 371162"/>
                    <a:gd name="connsiteY78" fmla="*/ 188481 h 371161"/>
                    <a:gd name="connsiteX79" fmla="*/ 226177 w 371162"/>
                    <a:gd name="connsiteY79" fmla="*/ 298669 h 371161"/>
                    <a:gd name="connsiteX80" fmla="*/ 192830 w 371162"/>
                    <a:gd name="connsiteY80" fmla="*/ 298669 h 371161"/>
                    <a:gd name="connsiteX81" fmla="*/ 144985 w 371162"/>
                    <a:gd name="connsiteY81" fmla="*/ 298669 h 371161"/>
                    <a:gd name="connsiteX82" fmla="*/ 144985 w 371162"/>
                    <a:gd name="connsiteY82" fmla="*/ 188481 h 371161"/>
                    <a:gd name="connsiteX83" fmla="*/ 178332 w 371162"/>
                    <a:gd name="connsiteY83" fmla="*/ 188481 h 371161"/>
                    <a:gd name="connsiteX84" fmla="*/ 178332 w 371162"/>
                    <a:gd name="connsiteY84" fmla="*/ 298669 h 371161"/>
                    <a:gd name="connsiteX85" fmla="*/ 144985 w 371162"/>
                    <a:gd name="connsiteY85" fmla="*/ 298669 h 371161"/>
                    <a:gd name="connsiteX86" fmla="*/ 269672 w 371162"/>
                    <a:gd name="connsiteY86" fmla="*/ 298669 h 371161"/>
                    <a:gd name="connsiteX87" fmla="*/ 269672 w 371162"/>
                    <a:gd name="connsiteY87" fmla="*/ 284171 h 371161"/>
                    <a:gd name="connsiteX88" fmla="*/ 327666 w 371162"/>
                    <a:gd name="connsiteY88" fmla="*/ 284171 h 371161"/>
                    <a:gd name="connsiteX89" fmla="*/ 327666 w 371162"/>
                    <a:gd name="connsiteY89" fmla="*/ 298669 h 371161"/>
                    <a:gd name="connsiteX90" fmla="*/ 269672 w 371162"/>
                    <a:gd name="connsiteY90" fmla="*/ 298669 h 371161"/>
                    <a:gd name="connsiteX91" fmla="*/ 313168 w 371162"/>
                    <a:gd name="connsiteY91" fmla="*/ 269672 h 371161"/>
                    <a:gd name="connsiteX92" fmla="*/ 284171 w 371162"/>
                    <a:gd name="connsiteY92" fmla="*/ 269672 h 371161"/>
                    <a:gd name="connsiteX93" fmla="*/ 284171 w 371162"/>
                    <a:gd name="connsiteY93" fmla="*/ 188481 h 371161"/>
                    <a:gd name="connsiteX94" fmla="*/ 313168 w 371162"/>
                    <a:gd name="connsiteY94" fmla="*/ 188481 h 371161"/>
                    <a:gd name="connsiteX95" fmla="*/ 313168 w 371162"/>
                    <a:gd name="connsiteY95" fmla="*/ 269672 h 371161"/>
                    <a:gd name="connsiteX96" fmla="*/ 327666 w 371162"/>
                    <a:gd name="connsiteY96" fmla="*/ 173982 h 371161"/>
                    <a:gd name="connsiteX97" fmla="*/ 269672 w 371162"/>
                    <a:gd name="connsiteY97" fmla="*/ 173982 h 371161"/>
                    <a:gd name="connsiteX98" fmla="*/ 269672 w 371162"/>
                    <a:gd name="connsiteY98" fmla="*/ 159484 h 371161"/>
                    <a:gd name="connsiteX99" fmla="*/ 327666 w 371162"/>
                    <a:gd name="connsiteY99" fmla="*/ 159484 h 371161"/>
                    <a:gd name="connsiteX100" fmla="*/ 327666 w 371162"/>
                    <a:gd name="connsiteY100" fmla="*/ 173982 h 371161"/>
                    <a:gd name="connsiteX101" fmla="*/ 14499 w 371162"/>
                    <a:gd name="connsiteY101" fmla="*/ 130487 h 371161"/>
                    <a:gd name="connsiteX102" fmla="*/ 156584 w 371162"/>
                    <a:gd name="connsiteY102" fmla="*/ 130487 h 371161"/>
                    <a:gd name="connsiteX103" fmla="*/ 163833 w 371162"/>
                    <a:gd name="connsiteY103" fmla="*/ 123237 h 371161"/>
                    <a:gd name="connsiteX104" fmla="*/ 156584 w 371162"/>
                    <a:gd name="connsiteY104" fmla="*/ 115988 h 371161"/>
                    <a:gd name="connsiteX105" fmla="*/ 31691 w 371162"/>
                    <a:gd name="connsiteY105" fmla="*/ 115988 h 371161"/>
                    <a:gd name="connsiteX106" fmla="*/ 185581 w 371162"/>
                    <a:gd name="connsiteY106" fmla="*/ 15897 h 371161"/>
                    <a:gd name="connsiteX107" fmla="*/ 339471 w 371162"/>
                    <a:gd name="connsiteY107" fmla="*/ 115988 h 371161"/>
                    <a:gd name="connsiteX108" fmla="*/ 214578 w 371162"/>
                    <a:gd name="connsiteY108" fmla="*/ 115988 h 371161"/>
                    <a:gd name="connsiteX109" fmla="*/ 207329 w 371162"/>
                    <a:gd name="connsiteY109" fmla="*/ 123237 h 371161"/>
                    <a:gd name="connsiteX110" fmla="*/ 214578 w 371162"/>
                    <a:gd name="connsiteY110" fmla="*/ 130487 h 371161"/>
                    <a:gd name="connsiteX111" fmla="*/ 356664 w 371162"/>
                    <a:gd name="connsiteY111" fmla="*/ 130487 h 371161"/>
                    <a:gd name="connsiteX112" fmla="*/ 356664 w 371162"/>
                    <a:gd name="connsiteY112" fmla="*/ 144985 h 371161"/>
                    <a:gd name="connsiteX113" fmla="*/ 14499 w 371162"/>
                    <a:gd name="connsiteY113" fmla="*/ 144985 h 371161"/>
                    <a:gd name="connsiteX114" fmla="*/ 14499 w 371162"/>
                    <a:gd name="connsiteY114" fmla="*/ 130487 h 371161"/>
                    <a:gd name="connsiteX115" fmla="*/ 101490 w 371162"/>
                    <a:gd name="connsiteY115" fmla="*/ 159484 h 371161"/>
                    <a:gd name="connsiteX116" fmla="*/ 101490 w 371162"/>
                    <a:gd name="connsiteY116" fmla="*/ 173982 h 371161"/>
                    <a:gd name="connsiteX117" fmla="*/ 43496 w 371162"/>
                    <a:gd name="connsiteY117" fmla="*/ 173982 h 371161"/>
                    <a:gd name="connsiteX118" fmla="*/ 43496 w 371162"/>
                    <a:gd name="connsiteY118" fmla="*/ 159484 h 371161"/>
                    <a:gd name="connsiteX119" fmla="*/ 101490 w 371162"/>
                    <a:gd name="connsiteY119" fmla="*/ 159484 h 371161"/>
                    <a:gd name="connsiteX120" fmla="*/ 86991 w 371162"/>
                    <a:gd name="connsiteY120" fmla="*/ 188481 h 371161"/>
                    <a:gd name="connsiteX121" fmla="*/ 86991 w 371162"/>
                    <a:gd name="connsiteY121" fmla="*/ 269672 h 371161"/>
                    <a:gd name="connsiteX122" fmla="*/ 57994 w 371162"/>
                    <a:gd name="connsiteY122" fmla="*/ 269672 h 371161"/>
                    <a:gd name="connsiteX123" fmla="*/ 57994 w 371162"/>
                    <a:gd name="connsiteY123" fmla="*/ 188481 h 371161"/>
                    <a:gd name="connsiteX124" fmla="*/ 86991 w 371162"/>
                    <a:gd name="connsiteY124" fmla="*/ 188481 h 371161"/>
                    <a:gd name="connsiteX125" fmla="*/ 43496 w 371162"/>
                    <a:gd name="connsiteY125" fmla="*/ 284171 h 371161"/>
                    <a:gd name="connsiteX126" fmla="*/ 101490 w 371162"/>
                    <a:gd name="connsiteY126" fmla="*/ 284171 h 371161"/>
                    <a:gd name="connsiteX127" fmla="*/ 101490 w 371162"/>
                    <a:gd name="connsiteY127" fmla="*/ 298669 h 371161"/>
                    <a:gd name="connsiteX128" fmla="*/ 43496 w 371162"/>
                    <a:gd name="connsiteY128" fmla="*/ 298669 h 371161"/>
                    <a:gd name="connsiteX129" fmla="*/ 43496 w 371162"/>
                    <a:gd name="connsiteY129" fmla="*/ 284171 h 371161"/>
                    <a:gd name="connsiteX130" fmla="*/ 28997 w 371162"/>
                    <a:gd name="connsiteY130" fmla="*/ 313168 h 371161"/>
                    <a:gd name="connsiteX131" fmla="*/ 115988 w 371162"/>
                    <a:gd name="connsiteY131" fmla="*/ 313168 h 371161"/>
                    <a:gd name="connsiteX132" fmla="*/ 115988 w 371162"/>
                    <a:gd name="connsiteY132" fmla="*/ 327666 h 371161"/>
                    <a:gd name="connsiteX133" fmla="*/ 28997 w 371162"/>
                    <a:gd name="connsiteY133" fmla="*/ 327666 h 371161"/>
                    <a:gd name="connsiteX134" fmla="*/ 28997 w 371162"/>
                    <a:gd name="connsiteY134" fmla="*/ 313168 h 371161"/>
                    <a:gd name="connsiteX135" fmla="*/ 14499 w 371162"/>
                    <a:gd name="connsiteY135" fmla="*/ 342165 h 371161"/>
                    <a:gd name="connsiteX136" fmla="*/ 356664 w 371162"/>
                    <a:gd name="connsiteY136" fmla="*/ 342165 h 371161"/>
                    <a:gd name="connsiteX137" fmla="*/ 356664 w 371162"/>
                    <a:gd name="connsiteY137" fmla="*/ 356663 h 371161"/>
                    <a:gd name="connsiteX138" fmla="*/ 14499 w 371162"/>
                    <a:gd name="connsiteY138" fmla="*/ 356663 h 371161"/>
                    <a:gd name="connsiteX139" fmla="*/ 14499 w 371162"/>
                    <a:gd name="connsiteY139" fmla="*/ 342165 h 37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371162" h="371161">
                      <a:moveTo>
                        <a:pt x="7249" y="371162"/>
                      </a:moveTo>
                      <a:lnTo>
                        <a:pt x="363913" y="371162"/>
                      </a:lnTo>
                      <a:cubicBezTo>
                        <a:pt x="367916" y="371162"/>
                        <a:pt x="371162" y="367917"/>
                        <a:pt x="371162" y="363913"/>
                      </a:cubicBezTo>
                      <a:lnTo>
                        <a:pt x="371162" y="334916"/>
                      </a:lnTo>
                      <a:cubicBezTo>
                        <a:pt x="371162" y="330912"/>
                        <a:pt x="367916" y="327666"/>
                        <a:pt x="363913" y="327666"/>
                      </a:cubicBezTo>
                      <a:lnTo>
                        <a:pt x="356664" y="327666"/>
                      </a:lnTo>
                      <a:lnTo>
                        <a:pt x="356664" y="305919"/>
                      </a:lnTo>
                      <a:cubicBezTo>
                        <a:pt x="356664" y="301915"/>
                        <a:pt x="353417" y="298669"/>
                        <a:pt x="349414" y="298669"/>
                      </a:cubicBezTo>
                      <a:lnTo>
                        <a:pt x="342165" y="298669"/>
                      </a:lnTo>
                      <a:lnTo>
                        <a:pt x="342165" y="276922"/>
                      </a:lnTo>
                      <a:cubicBezTo>
                        <a:pt x="342165" y="272918"/>
                        <a:pt x="338919" y="269672"/>
                        <a:pt x="334916" y="269672"/>
                      </a:cubicBezTo>
                      <a:lnTo>
                        <a:pt x="327666" y="269672"/>
                      </a:lnTo>
                      <a:lnTo>
                        <a:pt x="327666" y="188481"/>
                      </a:lnTo>
                      <a:lnTo>
                        <a:pt x="334916" y="188481"/>
                      </a:lnTo>
                      <a:cubicBezTo>
                        <a:pt x="338919" y="188481"/>
                        <a:pt x="342165" y="185235"/>
                        <a:pt x="342165" y="181231"/>
                      </a:cubicBezTo>
                      <a:lnTo>
                        <a:pt x="342165" y="159484"/>
                      </a:lnTo>
                      <a:lnTo>
                        <a:pt x="363913" y="159484"/>
                      </a:lnTo>
                      <a:cubicBezTo>
                        <a:pt x="367916" y="159484"/>
                        <a:pt x="371162" y="156238"/>
                        <a:pt x="371162" y="152234"/>
                      </a:cubicBezTo>
                      <a:lnTo>
                        <a:pt x="371162" y="123237"/>
                      </a:lnTo>
                      <a:cubicBezTo>
                        <a:pt x="371162" y="123203"/>
                        <a:pt x="371158" y="123171"/>
                        <a:pt x="371157" y="123137"/>
                      </a:cubicBezTo>
                      <a:cubicBezTo>
                        <a:pt x="371122" y="120669"/>
                        <a:pt x="369865" y="118488"/>
                        <a:pt x="367910" y="117192"/>
                      </a:cubicBezTo>
                      <a:cubicBezTo>
                        <a:pt x="367895" y="117182"/>
                        <a:pt x="367881" y="117170"/>
                        <a:pt x="367865" y="117160"/>
                      </a:cubicBezTo>
                      <a:lnTo>
                        <a:pt x="189533" y="1172"/>
                      </a:lnTo>
                      <a:cubicBezTo>
                        <a:pt x="187131" y="-391"/>
                        <a:pt x="184031" y="-391"/>
                        <a:pt x="181629" y="1172"/>
                      </a:cubicBezTo>
                      <a:lnTo>
                        <a:pt x="3297" y="117160"/>
                      </a:lnTo>
                      <a:cubicBezTo>
                        <a:pt x="1329" y="118438"/>
                        <a:pt x="0" y="120720"/>
                        <a:pt x="0" y="123237"/>
                      </a:cubicBezTo>
                      <a:lnTo>
                        <a:pt x="0" y="152234"/>
                      </a:lnTo>
                      <a:cubicBezTo>
                        <a:pt x="0" y="156238"/>
                        <a:pt x="3246" y="159484"/>
                        <a:pt x="7249" y="159484"/>
                      </a:cubicBezTo>
                      <a:lnTo>
                        <a:pt x="28997" y="159484"/>
                      </a:lnTo>
                      <a:lnTo>
                        <a:pt x="28997" y="181231"/>
                      </a:lnTo>
                      <a:cubicBezTo>
                        <a:pt x="28997" y="185235"/>
                        <a:pt x="32243" y="188481"/>
                        <a:pt x="36246" y="188481"/>
                      </a:cubicBezTo>
                      <a:lnTo>
                        <a:pt x="43496" y="188481"/>
                      </a:lnTo>
                      <a:lnTo>
                        <a:pt x="43496" y="269672"/>
                      </a:lnTo>
                      <a:lnTo>
                        <a:pt x="36246" y="269672"/>
                      </a:lnTo>
                      <a:cubicBezTo>
                        <a:pt x="32243" y="269672"/>
                        <a:pt x="28997" y="272918"/>
                        <a:pt x="28997" y="276922"/>
                      </a:cubicBezTo>
                      <a:lnTo>
                        <a:pt x="28997" y="298669"/>
                      </a:lnTo>
                      <a:lnTo>
                        <a:pt x="21748" y="298669"/>
                      </a:lnTo>
                      <a:cubicBezTo>
                        <a:pt x="17745" y="298669"/>
                        <a:pt x="14499" y="301915"/>
                        <a:pt x="14499" y="305919"/>
                      </a:cubicBezTo>
                      <a:lnTo>
                        <a:pt x="14499" y="327666"/>
                      </a:lnTo>
                      <a:lnTo>
                        <a:pt x="7249" y="327666"/>
                      </a:lnTo>
                      <a:cubicBezTo>
                        <a:pt x="3246" y="327666"/>
                        <a:pt x="0" y="330912"/>
                        <a:pt x="0" y="334916"/>
                      </a:cubicBezTo>
                      <a:lnTo>
                        <a:pt x="0" y="363913"/>
                      </a:lnTo>
                      <a:cubicBezTo>
                        <a:pt x="0" y="367917"/>
                        <a:pt x="3246" y="371162"/>
                        <a:pt x="7249" y="371162"/>
                      </a:cubicBezTo>
                      <a:close/>
                      <a:moveTo>
                        <a:pt x="255174" y="327666"/>
                      </a:moveTo>
                      <a:lnTo>
                        <a:pt x="255174" y="313168"/>
                      </a:lnTo>
                      <a:lnTo>
                        <a:pt x="342165" y="313168"/>
                      </a:lnTo>
                      <a:lnTo>
                        <a:pt x="342165" y="327666"/>
                      </a:lnTo>
                      <a:lnTo>
                        <a:pt x="255174" y="327666"/>
                      </a:lnTo>
                      <a:close/>
                      <a:moveTo>
                        <a:pt x="130487" y="327666"/>
                      </a:moveTo>
                      <a:lnTo>
                        <a:pt x="130487" y="313168"/>
                      </a:lnTo>
                      <a:lnTo>
                        <a:pt x="240675" y="313168"/>
                      </a:lnTo>
                      <a:lnTo>
                        <a:pt x="240675" y="327666"/>
                      </a:lnTo>
                      <a:lnTo>
                        <a:pt x="130487" y="327666"/>
                      </a:lnTo>
                      <a:close/>
                      <a:moveTo>
                        <a:pt x="108739" y="269672"/>
                      </a:moveTo>
                      <a:lnTo>
                        <a:pt x="101490" y="269672"/>
                      </a:lnTo>
                      <a:lnTo>
                        <a:pt x="101490" y="188481"/>
                      </a:lnTo>
                      <a:lnTo>
                        <a:pt x="108739" y="188481"/>
                      </a:lnTo>
                      <a:cubicBezTo>
                        <a:pt x="112742" y="188481"/>
                        <a:pt x="115988" y="185235"/>
                        <a:pt x="115988" y="181231"/>
                      </a:cubicBezTo>
                      <a:lnTo>
                        <a:pt x="115988" y="159484"/>
                      </a:lnTo>
                      <a:lnTo>
                        <a:pt x="255174" y="159484"/>
                      </a:lnTo>
                      <a:lnTo>
                        <a:pt x="255174" y="181231"/>
                      </a:lnTo>
                      <a:cubicBezTo>
                        <a:pt x="255174" y="185235"/>
                        <a:pt x="258420" y="188481"/>
                        <a:pt x="262423" y="188481"/>
                      </a:cubicBezTo>
                      <a:lnTo>
                        <a:pt x="269672" y="188481"/>
                      </a:lnTo>
                      <a:lnTo>
                        <a:pt x="269672" y="269672"/>
                      </a:lnTo>
                      <a:lnTo>
                        <a:pt x="262423" y="269672"/>
                      </a:lnTo>
                      <a:cubicBezTo>
                        <a:pt x="258420" y="269672"/>
                        <a:pt x="255174" y="272918"/>
                        <a:pt x="255174" y="276922"/>
                      </a:cubicBezTo>
                      <a:lnTo>
                        <a:pt x="255174" y="298669"/>
                      </a:lnTo>
                      <a:cubicBezTo>
                        <a:pt x="250103" y="298669"/>
                        <a:pt x="245746" y="298669"/>
                        <a:pt x="240675" y="298669"/>
                      </a:cubicBezTo>
                      <a:lnTo>
                        <a:pt x="240675" y="181231"/>
                      </a:lnTo>
                      <a:cubicBezTo>
                        <a:pt x="240675" y="177228"/>
                        <a:pt x="237429" y="173982"/>
                        <a:pt x="233426" y="173982"/>
                      </a:cubicBezTo>
                      <a:lnTo>
                        <a:pt x="137736" y="173982"/>
                      </a:lnTo>
                      <a:cubicBezTo>
                        <a:pt x="133733" y="173982"/>
                        <a:pt x="130487" y="177228"/>
                        <a:pt x="130487" y="181231"/>
                      </a:cubicBezTo>
                      <a:lnTo>
                        <a:pt x="130487" y="298669"/>
                      </a:lnTo>
                      <a:cubicBezTo>
                        <a:pt x="125416" y="298669"/>
                        <a:pt x="121059" y="298669"/>
                        <a:pt x="115988" y="298669"/>
                      </a:cubicBezTo>
                      <a:lnTo>
                        <a:pt x="115988" y="276922"/>
                      </a:lnTo>
                      <a:cubicBezTo>
                        <a:pt x="115988" y="272918"/>
                        <a:pt x="112742" y="269672"/>
                        <a:pt x="108739" y="269672"/>
                      </a:cubicBezTo>
                      <a:close/>
                      <a:moveTo>
                        <a:pt x="192830" y="298669"/>
                      </a:moveTo>
                      <a:lnTo>
                        <a:pt x="192830" y="188481"/>
                      </a:lnTo>
                      <a:lnTo>
                        <a:pt x="226177" y="188481"/>
                      </a:lnTo>
                      <a:lnTo>
                        <a:pt x="226177" y="298669"/>
                      </a:lnTo>
                      <a:lnTo>
                        <a:pt x="192830" y="298669"/>
                      </a:lnTo>
                      <a:close/>
                      <a:moveTo>
                        <a:pt x="144985" y="298669"/>
                      </a:moveTo>
                      <a:lnTo>
                        <a:pt x="144985" y="188481"/>
                      </a:lnTo>
                      <a:lnTo>
                        <a:pt x="178332" y="188481"/>
                      </a:lnTo>
                      <a:lnTo>
                        <a:pt x="178332" y="298669"/>
                      </a:lnTo>
                      <a:lnTo>
                        <a:pt x="144985" y="298669"/>
                      </a:lnTo>
                      <a:close/>
                      <a:moveTo>
                        <a:pt x="269672" y="298669"/>
                      </a:moveTo>
                      <a:lnTo>
                        <a:pt x="269672" y="284171"/>
                      </a:lnTo>
                      <a:lnTo>
                        <a:pt x="327666" y="284171"/>
                      </a:lnTo>
                      <a:lnTo>
                        <a:pt x="327666" y="298669"/>
                      </a:lnTo>
                      <a:lnTo>
                        <a:pt x="269672" y="298669"/>
                      </a:lnTo>
                      <a:close/>
                      <a:moveTo>
                        <a:pt x="313168" y="269672"/>
                      </a:moveTo>
                      <a:lnTo>
                        <a:pt x="284171" y="269672"/>
                      </a:lnTo>
                      <a:lnTo>
                        <a:pt x="284171" y="188481"/>
                      </a:lnTo>
                      <a:lnTo>
                        <a:pt x="313168" y="188481"/>
                      </a:lnTo>
                      <a:lnTo>
                        <a:pt x="313168" y="269672"/>
                      </a:lnTo>
                      <a:close/>
                      <a:moveTo>
                        <a:pt x="327666" y="173982"/>
                      </a:moveTo>
                      <a:lnTo>
                        <a:pt x="269672" y="173982"/>
                      </a:lnTo>
                      <a:lnTo>
                        <a:pt x="269672" y="159484"/>
                      </a:lnTo>
                      <a:lnTo>
                        <a:pt x="327666" y="159484"/>
                      </a:lnTo>
                      <a:lnTo>
                        <a:pt x="327666" y="173982"/>
                      </a:lnTo>
                      <a:close/>
                      <a:moveTo>
                        <a:pt x="14499" y="130487"/>
                      </a:moveTo>
                      <a:lnTo>
                        <a:pt x="156584" y="130487"/>
                      </a:lnTo>
                      <a:cubicBezTo>
                        <a:pt x="160587" y="130487"/>
                        <a:pt x="163833" y="127241"/>
                        <a:pt x="163833" y="123237"/>
                      </a:cubicBezTo>
                      <a:cubicBezTo>
                        <a:pt x="163833" y="119234"/>
                        <a:pt x="160587" y="115988"/>
                        <a:pt x="156584" y="115988"/>
                      </a:cubicBezTo>
                      <a:lnTo>
                        <a:pt x="31691" y="115988"/>
                      </a:lnTo>
                      <a:lnTo>
                        <a:pt x="185581" y="15897"/>
                      </a:lnTo>
                      <a:lnTo>
                        <a:pt x="339471" y="115988"/>
                      </a:lnTo>
                      <a:lnTo>
                        <a:pt x="214578" y="115988"/>
                      </a:lnTo>
                      <a:cubicBezTo>
                        <a:pt x="210575" y="115988"/>
                        <a:pt x="207329" y="119234"/>
                        <a:pt x="207329" y="123237"/>
                      </a:cubicBezTo>
                      <a:cubicBezTo>
                        <a:pt x="207329" y="127241"/>
                        <a:pt x="210575" y="130487"/>
                        <a:pt x="214578" y="130487"/>
                      </a:cubicBezTo>
                      <a:lnTo>
                        <a:pt x="356664" y="130487"/>
                      </a:lnTo>
                      <a:lnTo>
                        <a:pt x="356664" y="144985"/>
                      </a:lnTo>
                      <a:lnTo>
                        <a:pt x="14499" y="144985"/>
                      </a:lnTo>
                      <a:lnTo>
                        <a:pt x="14499" y="130487"/>
                      </a:lnTo>
                      <a:close/>
                      <a:moveTo>
                        <a:pt x="101490" y="159484"/>
                      </a:moveTo>
                      <a:lnTo>
                        <a:pt x="101490" y="173982"/>
                      </a:lnTo>
                      <a:lnTo>
                        <a:pt x="43496" y="173982"/>
                      </a:lnTo>
                      <a:lnTo>
                        <a:pt x="43496" y="159484"/>
                      </a:lnTo>
                      <a:lnTo>
                        <a:pt x="101490" y="159484"/>
                      </a:lnTo>
                      <a:close/>
                      <a:moveTo>
                        <a:pt x="86991" y="188481"/>
                      </a:moveTo>
                      <a:lnTo>
                        <a:pt x="86991" y="269672"/>
                      </a:lnTo>
                      <a:lnTo>
                        <a:pt x="57994" y="269672"/>
                      </a:lnTo>
                      <a:lnTo>
                        <a:pt x="57994" y="188481"/>
                      </a:lnTo>
                      <a:lnTo>
                        <a:pt x="86991" y="188481"/>
                      </a:lnTo>
                      <a:close/>
                      <a:moveTo>
                        <a:pt x="43496" y="284171"/>
                      </a:moveTo>
                      <a:cubicBezTo>
                        <a:pt x="61295" y="284171"/>
                        <a:pt x="83675" y="284171"/>
                        <a:pt x="101490" y="284171"/>
                      </a:cubicBezTo>
                      <a:lnTo>
                        <a:pt x="101490" y="298669"/>
                      </a:lnTo>
                      <a:lnTo>
                        <a:pt x="43496" y="298669"/>
                      </a:lnTo>
                      <a:lnTo>
                        <a:pt x="43496" y="284171"/>
                      </a:lnTo>
                      <a:close/>
                      <a:moveTo>
                        <a:pt x="28997" y="313168"/>
                      </a:moveTo>
                      <a:lnTo>
                        <a:pt x="115988" y="313168"/>
                      </a:lnTo>
                      <a:lnTo>
                        <a:pt x="115988" y="327666"/>
                      </a:lnTo>
                      <a:lnTo>
                        <a:pt x="28997" y="327666"/>
                      </a:lnTo>
                      <a:lnTo>
                        <a:pt x="28997" y="313168"/>
                      </a:lnTo>
                      <a:close/>
                      <a:moveTo>
                        <a:pt x="14499" y="342165"/>
                      </a:moveTo>
                      <a:lnTo>
                        <a:pt x="356664" y="342165"/>
                      </a:lnTo>
                      <a:lnTo>
                        <a:pt x="356664" y="356663"/>
                      </a:lnTo>
                      <a:lnTo>
                        <a:pt x="14499" y="356663"/>
                      </a:lnTo>
                      <a:lnTo>
                        <a:pt x="14499" y="342165"/>
                      </a:lnTo>
                      <a:close/>
                    </a:path>
                  </a:pathLst>
                </a:custGeom>
                <a:solidFill>
                  <a:srgbClr val="00146D"/>
                </a:solidFill>
                <a:ln w="70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32" name="Freeform: Shape 31">
                  <a:extLst>
                    <a:ext uri="{FF2B5EF4-FFF2-40B4-BE49-F238E27FC236}">
                      <a16:creationId xmlns:a16="http://schemas.microsoft.com/office/drawing/2014/main" id="{E6A073A7-7C8C-8F07-B085-7D6B2AE66888}"/>
                    </a:ext>
                  </a:extLst>
                </p:cNvPr>
                <p:cNvSpPr/>
                <p:nvPr/>
              </p:nvSpPr>
              <p:spPr>
                <a:xfrm>
                  <a:off x="2639622" y="1679509"/>
                  <a:ext cx="57994" cy="57994"/>
                </a:xfrm>
                <a:custGeom>
                  <a:avLst/>
                  <a:gdLst>
                    <a:gd name="connsiteX0" fmla="*/ 28997 w 57994"/>
                    <a:gd name="connsiteY0" fmla="*/ 57994 h 57994"/>
                    <a:gd name="connsiteX1" fmla="*/ 57994 w 57994"/>
                    <a:gd name="connsiteY1" fmla="*/ 28997 h 57994"/>
                    <a:gd name="connsiteX2" fmla="*/ 57954 w 57994"/>
                    <a:gd name="connsiteY2" fmla="*/ 27485 h 57994"/>
                    <a:gd name="connsiteX3" fmla="*/ 28997 w 57994"/>
                    <a:gd name="connsiteY3" fmla="*/ 0 h 57994"/>
                    <a:gd name="connsiteX4" fmla="*/ 0 w 57994"/>
                    <a:gd name="connsiteY4" fmla="*/ 28997 h 57994"/>
                    <a:gd name="connsiteX5" fmla="*/ 28997 w 57994"/>
                    <a:gd name="connsiteY5" fmla="*/ 57994 h 57994"/>
                    <a:gd name="connsiteX6" fmla="*/ 28997 w 57994"/>
                    <a:gd name="connsiteY6" fmla="*/ 14499 h 57994"/>
                    <a:gd name="connsiteX7" fmla="*/ 43476 w 57994"/>
                    <a:gd name="connsiteY7" fmla="*/ 28245 h 57994"/>
                    <a:gd name="connsiteX8" fmla="*/ 43480 w 57994"/>
                    <a:gd name="connsiteY8" fmla="*/ 28310 h 57994"/>
                    <a:gd name="connsiteX9" fmla="*/ 43496 w 57994"/>
                    <a:gd name="connsiteY9" fmla="*/ 28997 h 57994"/>
                    <a:gd name="connsiteX10" fmla="*/ 28997 w 57994"/>
                    <a:gd name="connsiteY10" fmla="*/ 43496 h 57994"/>
                    <a:gd name="connsiteX11" fmla="*/ 14499 w 57994"/>
                    <a:gd name="connsiteY11" fmla="*/ 28997 h 57994"/>
                    <a:gd name="connsiteX12" fmla="*/ 28997 w 57994"/>
                    <a:gd name="connsiteY12" fmla="*/ 14499 h 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94" h="57994">
                      <a:moveTo>
                        <a:pt x="28997" y="57994"/>
                      </a:moveTo>
                      <a:cubicBezTo>
                        <a:pt x="44986" y="57994"/>
                        <a:pt x="57994" y="44986"/>
                        <a:pt x="57994" y="28997"/>
                      </a:cubicBezTo>
                      <a:cubicBezTo>
                        <a:pt x="57994" y="28487"/>
                        <a:pt x="57983" y="27986"/>
                        <a:pt x="57954" y="27485"/>
                      </a:cubicBezTo>
                      <a:cubicBezTo>
                        <a:pt x="57161" y="12070"/>
                        <a:pt x="44447" y="0"/>
                        <a:pt x="28997" y="0"/>
                      </a:cubicBezTo>
                      <a:cubicBezTo>
                        <a:pt x="13008" y="0"/>
                        <a:pt x="0" y="13008"/>
                        <a:pt x="0" y="28997"/>
                      </a:cubicBezTo>
                      <a:cubicBezTo>
                        <a:pt x="0" y="44986"/>
                        <a:pt x="13008" y="57994"/>
                        <a:pt x="28997" y="57994"/>
                      </a:cubicBezTo>
                      <a:close/>
                      <a:moveTo>
                        <a:pt x="28997" y="14499"/>
                      </a:moveTo>
                      <a:cubicBezTo>
                        <a:pt x="36727" y="14499"/>
                        <a:pt x="43087" y="20537"/>
                        <a:pt x="43476" y="28245"/>
                      </a:cubicBezTo>
                      <a:cubicBezTo>
                        <a:pt x="43477" y="28267"/>
                        <a:pt x="43478" y="28288"/>
                        <a:pt x="43480" y="28310"/>
                      </a:cubicBezTo>
                      <a:cubicBezTo>
                        <a:pt x="43493" y="28537"/>
                        <a:pt x="43496" y="28765"/>
                        <a:pt x="43496" y="28997"/>
                      </a:cubicBezTo>
                      <a:cubicBezTo>
                        <a:pt x="43496" y="36992"/>
                        <a:pt x="36992" y="43496"/>
                        <a:pt x="28997" y="43496"/>
                      </a:cubicBezTo>
                      <a:cubicBezTo>
                        <a:pt x="21003" y="43496"/>
                        <a:pt x="14499" y="36992"/>
                        <a:pt x="14499" y="28997"/>
                      </a:cubicBezTo>
                      <a:cubicBezTo>
                        <a:pt x="14499" y="21003"/>
                        <a:pt x="21003" y="14499"/>
                        <a:pt x="28997" y="14499"/>
                      </a:cubicBezTo>
                      <a:close/>
                    </a:path>
                  </a:pathLst>
                </a:custGeom>
                <a:grpFill/>
                <a:ln w="70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grpSp>
        <p:nvGrpSpPr>
          <p:cNvPr id="33" name="Group 32">
            <a:extLst>
              <a:ext uri="{FF2B5EF4-FFF2-40B4-BE49-F238E27FC236}">
                <a16:creationId xmlns:a16="http://schemas.microsoft.com/office/drawing/2014/main" id="{B154AF0D-C69A-696B-1235-3D1A93D418B5}"/>
              </a:ext>
            </a:extLst>
          </p:cNvPr>
          <p:cNvGrpSpPr/>
          <p:nvPr/>
        </p:nvGrpSpPr>
        <p:grpSpPr>
          <a:xfrm>
            <a:off x="9723061" y="960258"/>
            <a:ext cx="2289553" cy="5263600"/>
            <a:chOff x="9723061" y="960258"/>
            <a:chExt cx="2289553" cy="5263600"/>
          </a:xfrm>
        </p:grpSpPr>
        <p:sp>
          <p:nvSpPr>
            <p:cNvPr id="34" name="TextBox 33">
              <a:extLst>
                <a:ext uri="{FF2B5EF4-FFF2-40B4-BE49-F238E27FC236}">
                  <a16:creationId xmlns:a16="http://schemas.microsoft.com/office/drawing/2014/main" id="{2494EDEF-F8E5-B56E-8CE3-E0A5E8562CAA}"/>
                </a:ext>
              </a:extLst>
            </p:cNvPr>
            <p:cNvSpPr txBox="1">
              <a:spLocks/>
            </p:cNvSpPr>
            <p:nvPr/>
          </p:nvSpPr>
          <p:spPr>
            <a:xfrm>
              <a:off x="9723061" y="1542672"/>
              <a:ext cx="2289553" cy="1101838"/>
            </a:xfrm>
            <a:prstGeom prst="rect">
              <a:avLst/>
            </a:prstGeom>
            <a:solidFill>
              <a:srgbClr val="00146D"/>
            </a:solidFill>
            <a:ln w="25400">
              <a:noFill/>
            </a:ln>
          </p:spPr>
          <p:txBody>
            <a:bodyPr wrap="square" lIns="76200" tIns="76200" rIns="76200" bIns="76200" anchor="ctr">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Creating circular, resource-efficient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and</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 low-impact solutions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and</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 business models</a:t>
              </a:r>
            </a:p>
          </p:txBody>
        </p:sp>
        <p:sp>
          <p:nvSpPr>
            <p:cNvPr id="35" name="TextBox 34">
              <a:extLst>
                <a:ext uri="{FF2B5EF4-FFF2-40B4-BE49-F238E27FC236}">
                  <a16:creationId xmlns:a16="http://schemas.microsoft.com/office/drawing/2014/main" id="{49C95A80-0F8E-C2E2-36DC-E36707B9967A}"/>
                </a:ext>
              </a:extLst>
            </p:cNvPr>
            <p:cNvSpPr txBox="1">
              <a:spLocks/>
            </p:cNvSpPr>
            <p:nvPr/>
          </p:nvSpPr>
          <p:spPr>
            <a:xfrm>
              <a:off x="9723061" y="2668520"/>
              <a:ext cx="2289553" cy="3555338"/>
            </a:xfrm>
            <a:prstGeom prst="rect">
              <a:avLst/>
            </a:prstGeom>
            <a:solidFill>
              <a:srgbClr val="FFFFFF">
                <a:lumMod val="95000"/>
              </a:srgbClr>
            </a:solidFill>
          </p:spPr>
          <p:txBody>
            <a:bodyPr wrap="square">
              <a:noAutofit/>
            </a:bodyPr>
            <a:lstStyle/>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Setting up monitoring systems to identify priorities and develop ambitious circular economy action plans</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Developing and reinforcing regulation to boost circular economy business models</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Building circular economy capacity and coalitions</a:t>
              </a:r>
            </a:p>
          </p:txBody>
        </p:sp>
        <p:grpSp>
          <p:nvGrpSpPr>
            <p:cNvPr id="36" name="Group 35">
              <a:extLst>
                <a:ext uri="{FF2B5EF4-FFF2-40B4-BE49-F238E27FC236}">
                  <a16:creationId xmlns:a16="http://schemas.microsoft.com/office/drawing/2014/main" id="{0864B35F-8B69-23B5-B520-25DFAB9F3EFD}"/>
                </a:ext>
              </a:extLst>
            </p:cNvPr>
            <p:cNvGrpSpPr/>
            <p:nvPr/>
          </p:nvGrpSpPr>
          <p:grpSpPr>
            <a:xfrm>
              <a:off x="10544772" y="960258"/>
              <a:ext cx="646130" cy="646128"/>
              <a:chOff x="10151549" y="1177926"/>
              <a:chExt cx="646130" cy="646128"/>
            </a:xfrm>
          </p:grpSpPr>
          <p:sp>
            <p:nvSpPr>
              <p:cNvPr id="37" name="Oval 36">
                <a:extLst>
                  <a:ext uri="{FF2B5EF4-FFF2-40B4-BE49-F238E27FC236}">
                    <a16:creationId xmlns:a16="http://schemas.microsoft.com/office/drawing/2014/main" id="{2A25AE64-855F-51E9-4B27-2196C7A95B58}"/>
                  </a:ext>
                </a:extLst>
              </p:cNvPr>
              <p:cNvSpPr/>
              <p:nvPr/>
            </p:nvSpPr>
            <p:spPr>
              <a:xfrm>
                <a:off x="10151549" y="1177926"/>
                <a:ext cx="646130" cy="646128"/>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1" i="1" u="none" strike="noStrike" kern="0" cap="none" spc="0" normalizeH="0" baseline="0" noProof="0" dirty="0">
                  <a:ln>
                    <a:noFill/>
                  </a:ln>
                  <a:solidFill>
                    <a:srgbClr val="000000"/>
                  </a:solidFill>
                  <a:effectLst/>
                  <a:uLnTx/>
                  <a:uFillTx/>
                  <a:latin typeface="Century Gothic" panose="020B0502020202020204" pitchFamily="34" charset="0"/>
                  <a:sym typeface="Arial"/>
                </a:endParaRPr>
              </a:p>
            </p:txBody>
          </p:sp>
          <p:grpSp>
            <p:nvGrpSpPr>
              <p:cNvPr id="38" name="Group 37">
                <a:extLst>
                  <a:ext uri="{FF2B5EF4-FFF2-40B4-BE49-F238E27FC236}">
                    <a16:creationId xmlns:a16="http://schemas.microsoft.com/office/drawing/2014/main" id="{103A4086-4C99-0604-6C97-EFF512CFB6F5}"/>
                  </a:ext>
                </a:extLst>
              </p:cNvPr>
              <p:cNvGrpSpPr/>
              <p:nvPr/>
            </p:nvGrpSpPr>
            <p:grpSpPr>
              <a:xfrm>
                <a:off x="10272522" y="1319905"/>
                <a:ext cx="404185" cy="362170"/>
                <a:chOff x="10411542" y="1651687"/>
                <a:chExt cx="404185" cy="362170"/>
              </a:xfrm>
              <a:solidFill>
                <a:srgbClr val="00146D"/>
              </a:solidFill>
            </p:grpSpPr>
            <p:sp>
              <p:nvSpPr>
                <p:cNvPr id="39" name="Freeform: Shape 38">
                  <a:extLst>
                    <a:ext uri="{FF2B5EF4-FFF2-40B4-BE49-F238E27FC236}">
                      <a16:creationId xmlns:a16="http://schemas.microsoft.com/office/drawing/2014/main" id="{5D3ED335-4908-97F3-DF85-E7632D6AF6FA}"/>
                    </a:ext>
                  </a:extLst>
                </p:cNvPr>
                <p:cNvSpPr/>
                <p:nvPr/>
              </p:nvSpPr>
              <p:spPr>
                <a:xfrm>
                  <a:off x="10491826" y="1651687"/>
                  <a:ext cx="244887" cy="150253"/>
                </a:xfrm>
                <a:custGeom>
                  <a:avLst/>
                  <a:gdLst>
                    <a:gd name="connsiteX0" fmla="*/ 243347 w 244887"/>
                    <a:gd name="connsiteY0" fmla="*/ 78166 h 150253"/>
                    <a:gd name="connsiteX1" fmla="*/ 235531 w 244887"/>
                    <a:gd name="connsiteY1" fmla="*/ 76429 h 150253"/>
                    <a:gd name="connsiteX2" fmla="*/ 224240 w 244887"/>
                    <a:gd name="connsiteY2" fmla="*/ 80772 h 150253"/>
                    <a:gd name="connsiteX3" fmla="*/ 189499 w 244887"/>
                    <a:gd name="connsiteY3" fmla="*/ 3908 h 150253"/>
                    <a:gd name="connsiteX4" fmla="*/ 183420 w 244887"/>
                    <a:gd name="connsiteY4" fmla="*/ 0 h 150253"/>
                    <a:gd name="connsiteX5" fmla="*/ 70513 w 244887"/>
                    <a:gd name="connsiteY5" fmla="*/ 0 h 150253"/>
                    <a:gd name="connsiteX6" fmla="*/ 65302 w 244887"/>
                    <a:gd name="connsiteY6" fmla="*/ 2606 h 150253"/>
                    <a:gd name="connsiteX7" fmla="*/ 1466 w 244887"/>
                    <a:gd name="connsiteY7" fmla="*/ 79035 h 150253"/>
                    <a:gd name="connsiteX8" fmla="*/ 163 w 244887"/>
                    <a:gd name="connsiteY8" fmla="*/ 84246 h 150253"/>
                    <a:gd name="connsiteX9" fmla="*/ 2768 w 244887"/>
                    <a:gd name="connsiteY9" fmla="*/ 89023 h 150253"/>
                    <a:gd name="connsiteX10" fmla="*/ 66604 w 244887"/>
                    <a:gd name="connsiteY10" fmla="*/ 136357 h 150253"/>
                    <a:gd name="connsiteX11" fmla="*/ 76158 w 244887"/>
                    <a:gd name="connsiteY11" fmla="*/ 135054 h 150253"/>
                    <a:gd name="connsiteX12" fmla="*/ 117847 w 244887"/>
                    <a:gd name="connsiteY12" fmla="*/ 78601 h 150253"/>
                    <a:gd name="connsiteX13" fmla="*/ 137823 w 244887"/>
                    <a:gd name="connsiteY13" fmla="*/ 114210 h 150253"/>
                    <a:gd name="connsiteX14" fmla="*/ 125229 w 244887"/>
                    <a:gd name="connsiteY14" fmla="*/ 120724 h 150253"/>
                    <a:gd name="connsiteX15" fmla="*/ 121755 w 244887"/>
                    <a:gd name="connsiteY15" fmla="*/ 127238 h 150253"/>
                    <a:gd name="connsiteX16" fmla="*/ 126966 w 244887"/>
                    <a:gd name="connsiteY16" fmla="*/ 132883 h 150253"/>
                    <a:gd name="connsiteX17" fmla="*/ 198185 w 244887"/>
                    <a:gd name="connsiteY17" fmla="*/ 150253 h 150253"/>
                    <a:gd name="connsiteX18" fmla="*/ 199922 w 244887"/>
                    <a:gd name="connsiteY18" fmla="*/ 150253 h 150253"/>
                    <a:gd name="connsiteX19" fmla="*/ 205567 w 244887"/>
                    <a:gd name="connsiteY19" fmla="*/ 147213 h 150253"/>
                    <a:gd name="connsiteX20" fmla="*/ 243782 w 244887"/>
                    <a:gd name="connsiteY20" fmla="*/ 85983 h 150253"/>
                    <a:gd name="connsiteX21" fmla="*/ 243347 w 244887"/>
                    <a:gd name="connsiteY21" fmla="*/ 78166 h 150253"/>
                    <a:gd name="connsiteX22" fmla="*/ 69210 w 244887"/>
                    <a:gd name="connsiteY22" fmla="*/ 121158 h 150253"/>
                    <a:gd name="connsiteX23" fmla="*/ 16665 w 244887"/>
                    <a:gd name="connsiteY23" fmla="*/ 82075 h 150253"/>
                    <a:gd name="connsiteX24" fmla="*/ 73987 w 244887"/>
                    <a:gd name="connsiteY24" fmla="*/ 13462 h 150253"/>
                    <a:gd name="connsiteX25" fmla="*/ 83106 w 244887"/>
                    <a:gd name="connsiteY25" fmla="*/ 13462 h 150253"/>
                    <a:gd name="connsiteX26" fmla="*/ 111333 w 244887"/>
                    <a:gd name="connsiteY26" fmla="*/ 66007 h 150253"/>
                    <a:gd name="connsiteX27" fmla="*/ 69210 w 244887"/>
                    <a:gd name="connsiteY27" fmla="*/ 121158 h 150253"/>
                    <a:gd name="connsiteX28" fmla="*/ 196013 w 244887"/>
                    <a:gd name="connsiteY28" fmla="*/ 136357 h 150253"/>
                    <a:gd name="connsiteX29" fmla="*/ 147811 w 244887"/>
                    <a:gd name="connsiteY29" fmla="*/ 124632 h 150253"/>
                    <a:gd name="connsiteX30" fmla="*/ 150416 w 244887"/>
                    <a:gd name="connsiteY30" fmla="*/ 123329 h 150253"/>
                    <a:gd name="connsiteX31" fmla="*/ 153890 w 244887"/>
                    <a:gd name="connsiteY31" fmla="*/ 119421 h 150253"/>
                    <a:gd name="connsiteX32" fmla="*/ 153456 w 244887"/>
                    <a:gd name="connsiteY32" fmla="*/ 114210 h 150253"/>
                    <a:gd name="connsiteX33" fmla="*/ 124795 w 244887"/>
                    <a:gd name="connsiteY33" fmla="*/ 62967 h 150253"/>
                    <a:gd name="connsiteX34" fmla="*/ 97871 w 244887"/>
                    <a:gd name="connsiteY34" fmla="*/ 13028 h 150253"/>
                    <a:gd name="connsiteX35" fmla="*/ 178643 w 244887"/>
                    <a:gd name="connsiteY35" fmla="*/ 13028 h 150253"/>
                    <a:gd name="connsiteX36" fmla="*/ 214252 w 244887"/>
                    <a:gd name="connsiteY36" fmla="*/ 92063 h 150253"/>
                    <a:gd name="connsiteX37" fmla="*/ 221200 w 244887"/>
                    <a:gd name="connsiteY37" fmla="*/ 95971 h 150253"/>
                    <a:gd name="connsiteX38" fmla="*/ 196013 w 244887"/>
                    <a:gd name="connsiteY38" fmla="*/ 136357 h 15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4887" h="150253">
                      <a:moveTo>
                        <a:pt x="243347" y="78166"/>
                      </a:moveTo>
                      <a:cubicBezTo>
                        <a:pt x="241610" y="75995"/>
                        <a:pt x="238571" y="75127"/>
                        <a:pt x="235531" y="76429"/>
                      </a:cubicBezTo>
                      <a:lnTo>
                        <a:pt x="224240" y="80772"/>
                      </a:lnTo>
                      <a:lnTo>
                        <a:pt x="189499" y="3908"/>
                      </a:lnTo>
                      <a:cubicBezTo>
                        <a:pt x="188197" y="1303"/>
                        <a:pt x="186025" y="0"/>
                        <a:pt x="183420" y="0"/>
                      </a:cubicBezTo>
                      <a:lnTo>
                        <a:pt x="70513" y="0"/>
                      </a:lnTo>
                      <a:cubicBezTo>
                        <a:pt x="68341" y="0"/>
                        <a:pt x="66604" y="869"/>
                        <a:pt x="65302" y="2606"/>
                      </a:cubicBezTo>
                      <a:lnTo>
                        <a:pt x="1466" y="79035"/>
                      </a:lnTo>
                      <a:cubicBezTo>
                        <a:pt x="163" y="80338"/>
                        <a:pt x="-271" y="82509"/>
                        <a:pt x="163" y="84246"/>
                      </a:cubicBezTo>
                      <a:cubicBezTo>
                        <a:pt x="597" y="85983"/>
                        <a:pt x="1466" y="87720"/>
                        <a:pt x="2768" y="89023"/>
                      </a:cubicBezTo>
                      <a:lnTo>
                        <a:pt x="66604" y="136357"/>
                      </a:lnTo>
                      <a:cubicBezTo>
                        <a:pt x="69644" y="138528"/>
                        <a:pt x="73987" y="138094"/>
                        <a:pt x="76158" y="135054"/>
                      </a:cubicBezTo>
                      <a:lnTo>
                        <a:pt x="117847" y="78601"/>
                      </a:lnTo>
                      <a:lnTo>
                        <a:pt x="137823" y="114210"/>
                      </a:lnTo>
                      <a:lnTo>
                        <a:pt x="125229" y="120724"/>
                      </a:lnTo>
                      <a:cubicBezTo>
                        <a:pt x="122624" y="122027"/>
                        <a:pt x="121321" y="124632"/>
                        <a:pt x="121755" y="127238"/>
                      </a:cubicBezTo>
                      <a:cubicBezTo>
                        <a:pt x="122189" y="129843"/>
                        <a:pt x="123926" y="132449"/>
                        <a:pt x="126966" y="132883"/>
                      </a:cubicBezTo>
                      <a:lnTo>
                        <a:pt x="198185" y="150253"/>
                      </a:lnTo>
                      <a:cubicBezTo>
                        <a:pt x="198619" y="150253"/>
                        <a:pt x="199053" y="150253"/>
                        <a:pt x="199922" y="150253"/>
                      </a:cubicBezTo>
                      <a:cubicBezTo>
                        <a:pt x="202093" y="150253"/>
                        <a:pt x="204264" y="148951"/>
                        <a:pt x="205567" y="147213"/>
                      </a:cubicBezTo>
                      <a:lnTo>
                        <a:pt x="243782" y="85983"/>
                      </a:lnTo>
                      <a:cubicBezTo>
                        <a:pt x="245519" y="83378"/>
                        <a:pt x="245084" y="80338"/>
                        <a:pt x="243347" y="78166"/>
                      </a:cubicBezTo>
                      <a:close/>
                      <a:moveTo>
                        <a:pt x="69210" y="121158"/>
                      </a:moveTo>
                      <a:lnTo>
                        <a:pt x="16665" y="82075"/>
                      </a:lnTo>
                      <a:lnTo>
                        <a:pt x="73987" y="13462"/>
                      </a:lnTo>
                      <a:lnTo>
                        <a:pt x="83106" y="13462"/>
                      </a:lnTo>
                      <a:lnTo>
                        <a:pt x="111333" y="66007"/>
                      </a:lnTo>
                      <a:lnTo>
                        <a:pt x="69210" y="121158"/>
                      </a:lnTo>
                      <a:close/>
                      <a:moveTo>
                        <a:pt x="196013" y="136357"/>
                      </a:moveTo>
                      <a:lnTo>
                        <a:pt x="147811" y="124632"/>
                      </a:lnTo>
                      <a:lnTo>
                        <a:pt x="150416" y="123329"/>
                      </a:lnTo>
                      <a:cubicBezTo>
                        <a:pt x="152153" y="122461"/>
                        <a:pt x="153456" y="121158"/>
                        <a:pt x="153890" y="119421"/>
                      </a:cubicBezTo>
                      <a:cubicBezTo>
                        <a:pt x="154324" y="117684"/>
                        <a:pt x="154324" y="115947"/>
                        <a:pt x="153456" y="114210"/>
                      </a:cubicBezTo>
                      <a:lnTo>
                        <a:pt x="124795" y="62967"/>
                      </a:lnTo>
                      <a:lnTo>
                        <a:pt x="97871" y="13028"/>
                      </a:lnTo>
                      <a:lnTo>
                        <a:pt x="178643" y="13028"/>
                      </a:lnTo>
                      <a:lnTo>
                        <a:pt x="214252" y="92063"/>
                      </a:lnTo>
                      <a:cubicBezTo>
                        <a:pt x="215555" y="94668"/>
                        <a:pt x="218595" y="96405"/>
                        <a:pt x="221200" y="95971"/>
                      </a:cubicBezTo>
                      <a:lnTo>
                        <a:pt x="196013" y="136357"/>
                      </a:lnTo>
                      <a:close/>
                    </a:path>
                  </a:pathLst>
                </a:custGeom>
                <a:grpFill/>
                <a:ln w="107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40" name="Freeform: Shape 39">
                  <a:extLst>
                    <a:ext uri="{FF2B5EF4-FFF2-40B4-BE49-F238E27FC236}">
                      <a16:creationId xmlns:a16="http://schemas.microsoft.com/office/drawing/2014/main" id="{5C7F2E80-A392-4623-7EC8-2A83346AE6E7}"/>
                    </a:ext>
                  </a:extLst>
                </p:cNvPr>
                <p:cNvSpPr/>
                <p:nvPr/>
              </p:nvSpPr>
              <p:spPr>
                <a:xfrm>
                  <a:off x="10411542" y="1791518"/>
                  <a:ext cx="179891" cy="204101"/>
                </a:xfrm>
                <a:custGeom>
                  <a:avLst/>
                  <a:gdLst>
                    <a:gd name="connsiteX0" fmla="*/ 173378 w 179891"/>
                    <a:gd name="connsiteY0" fmla="*/ 113776 h 204101"/>
                    <a:gd name="connsiteX1" fmla="*/ 103028 w 179891"/>
                    <a:gd name="connsiteY1" fmla="*/ 110736 h 204101"/>
                    <a:gd name="connsiteX2" fmla="*/ 121267 w 179891"/>
                    <a:gd name="connsiteY2" fmla="*/ 74258 h 204101"/>
                    <a:gd name="connsiteX3" fmla="*/ 133426 w 179891"/>
                    <a:gd name="connsiteY3" fmla="*/ 81206 h 204101"/>
                    <a:gd name="connsiteX4" fmla="*/ 141242 w 179891"/>
                    <a:gd name="connsiteY4" fmla="*/ 80338 h 204101"/>
                    <a:gd name="connsiteX5" fmla="*/ 142979 w 179891"/>
                    <a:gd name="connsiteY5" fmla="*/ 72955 h 204101"/>
                    <a:gd name="connsiteX6" fmla="*/ 117358 w 179891"/>
                    <a:gd name="connsiteY6" fmla="*/ 4343 h 204101"/>
                    <a:gd name="connsiteX7" fmla="*/ 110844 w 179891"/>
                    <a:gd name="connsiteY7" fmla="*/ 0 h 204101"/>
                    <a:gd name="connsiteX8" fmla="*/ 38323 w 179891"/>
                    <a:gd name="connsiteY8" fmla="*/ 2606 h 204101"/>
                    <a:gd name="connsiteX9" fmla="*/ 32244 w 179891"/>
                    <a:gd name="connsiteY9" fmla="*/ 7382 h 204101"/>
                    <a:gd name="connsiteX10" fmla="*/ 34849 w 179891"/>
                    <a:gd name="connsiteY10" fmla="*/ 14765 h 204101"/>
                    <a:gd name="connsiteX11" fmla="*/ 44837 w 179891"/>
                    <a:gd name="connsiteY11" fmla="*/ 21713 h 204101"/>
                    <a:gd name="connsiteX12" fmla="*/ 977 w 179891"/>
                    <a:gd name="connsiteY12" fmla="*/ 93800 h 204101"/>
                    <a:gd name="connsiteX13" fmla="*/ 977 w 179891"/>
                    <a:gd name="connsiteY13" fmla="*/ 101182 h 204101"/>
                    <a:gd name="connsiteX14" fmla="*/ 49614 w 179891"/>
                    <a:gd name="connsiteY14" fmla="*/ 172835 h 204101"/>
                    <a:gd name="connsiteX15" fmla="*/ 68287 w 179891"/>
                    <a:gd name="connsiteY15" fmla="*/ 201062 h 204101"/>
                    <a:gd name="connsiteX16" fmla="*/ 73932 w 179891"/>
                    <a:gd name="connsiteY16" fmla="*/ 204101 h 204101"/>
                    <a:gd name="connsiteX17" fmla="*/ 172943 w 179891"/>
                    <a:gd name="connsiteY17" fmla="*/ 204101 h 204101"/>
                    <a:gd name="connsiteX18" fmla="*/ 179891 w 179891"/>
                    <a:gd name="connsiteY18" fmla="*/ 197153 h 204101"/>
                    <a:gd name="connsiteX19" fmla="*/ 179891 w 179891"/>
                    <a:gd name="connsiteY19" fmla="*/ 120724 h 204101"/>
                    <a:gd name="connsiteX20" fmla="*/ 173378 w 179891"/>
                    <a:gd name="connsiteY20" fmla="*/ 113776 h 204101"/>
                    <a:gd name="connsiteX21" fmla="*/ 60036 w 179891"/>
                    <a:gd name="connsiteY21" fmla="*/ 164150 h 204101"/>
                    <a:gd name="connsiteX22" fmla="*/ 14873 w 179891"/>
                    <a:gd name="connsiteY22" fmla="*/ 97274 h 204101"/>
                    <a:gd name="connsiteX23" fmla="*/ 60470 w 179891"/>
                    <a:gd name="connsiteY23" fmla="*/ 23450 h 204101"/>
                    <a:gd name="connsiteX24" fmla="*/ 59602 w 179891"/>
                    <a:gd name="connsiteY24" fmla="*/ 15633 h 204101"/>
                    <a:gd name="connsiteX25" fmla="*/ 106936 w 179891"/>
                    <a:gd name="connsiteY25" fmla="*/ 13462 h 204101"/>
                    <a:gd name="connsiteX26" fmla="*/ 124306 w 179891"/>
                    <a:gd name="connsiteY26" fmla="*/ 60362 h 204101"/>
                    <a:gd name="connsiteX27" fmla="*/ 121701 w 179891"/>
                    <a:gd name="connsiteY27" fmla="*/ 59059 h 204101"/>
                    <a:gd name="connsiteX28" fmla="*/ 116490 w 179891"/>
                    <a:gd name="connsiteY28" fmla="*/ 58625 h 204101"/>
                    <a:gd name="connsiteX29" fmla="*/ 112581 w 179891"/>
                    <a:gd name="connsiteY29" fmla="*/ 62099 h 204101"/>
                    <a:gd name="connsiteX30" fmla="*/ 86526 w 179891"/>
                    <a:gd name="connsiteY30" fmla="*/ 114210 h 204101"/>
                    <a:gd name="connsiteX31" fmla="*/ 60036 w 179891"/>
                    <a:gd name="connsiteY31" fmla="*/ 164150 h 204101"/>
                    <a:gd name="connsiteX32" fmla="*/ 165995 w 179891"/>
                    <a:gd name="connsiteY32" fmla="*/ 190639 h 204101"/>
                    <a:gd name="connsiteX33" fmla="*/ 77407 w 179891"/>
                    <a:gd name="connsiteY33" fmla="*/ 190639 h 204101"/>
                    <a:gd name="connsiteX34" fmla="*/ 68721 w 179891"/>
                    <a:gd name="connsiteY34" fmla="*/ 177177 h 204101"/>
                    <a:gd name="connsiteX35" fmla="*/ 96514 w 179891"/>
                    <a:gd name="connsiteY35" fmla="*/ 124198 h 204101"/>
                    <a:gd name="connsiteX36" fmla="*/ 165995 w 179891"/>
                    <a:gd name="connsiteY36" fmla="*/ 127238 h 204101"/>
                    <a:gd name="connsiteX37" fmla="*/ 165995 w 179891"/>
                    <a:gd name="connsiteY37" fmla="*/ 190639 h 20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9891" h="204101">
                      <a:moveTo>
                        <a:pt x="173378" y="113776"/>
                      </a:moveTo>
                      <a:lnTo>
                        <a:pt x="103028" y="110736"/>
                      </a:lnTo>
                      <a:lnTo>
                        <a:pt x="121267" y="74258"/>
                      </a:lnTo>
                      <a:lnTo>
                        <a:pt x="133426" y="81206"/>
                      </a:lnTo>
                      <a:cubicBezTo>
                        <a:pt x="136031" y="82509"/>
                        <a:pt x="139071" y="82509"/>
                        <a:pt x="141242" y="80338"/>
                      </a:cubicBezTo>
                      <a:cubicBezTo>
                        <a:pt x="143414" y="78601"/>
                        <a:pt x="144282" y="75561"/>
                        <a:pt x="142979" y="72955"/>
                      </a:cubicBezTo>
                      <a:lnTo>
                        <a:pt x="117358" y="4343"/>
                      </a:lnTo>
                      <a:cubicBezTo>
                        <a:pt x="116490" y="1737"/>
                        <a:pt x="113884" y="0"/>
                        <a:pt x="110844" y="0"/>
                      </a:cubicBezTo>
                      <a:lnTo>
                        <a:pt x="38323" y="2606"/>
                      </a:lnTo>
                      <a:cubicBezTo>
                        <a:pt x="35283" y="2606"/>
                        <a:pt x="33112" y="4777"/>
                        <a:pt x="32244" y="7382"/>
                      </a:cubicBezTo>
                      <a:cubicBezTo>
                        <a:pt x="31375" y="9988"/>
                        <a:pt x="32678" y="13028"/>
                        <a:pt x="34849" y="14765"/>
                      </a:cubicBezTo>
                      <a:lnTo>
                        <a:pt x="44837" y="21713"/>
                      </a:lnTo>
                      <a:lnTo>
                        <a:pt x="977" y="93800"/>
                      </a:lnTo>
                      <a:cubicBezTo>
                        <a:pt x="-326" y="95971"/>
                        <a:pt x="-326" y="99011"/>
                        <a:pt x="977" y="101182"/>
                      </a:cubicBezTo>
                      <a:lnTo>
                        <a:pt x="49614" y="172835"/>
                      </a:lnTo>
                      <a:lnTo>
                        <a:pt x="68287" y="201062"/>
                      </a:lnTo>
                      <a:cubicBezTo>
                        <a:pt x="69590" y="202799"/>
                        <a:pt x="71761" y="204101"/>
                        <a:pt x="73932" y="204101"/>
                      </a:cubicBezTo>
                      <a:lnTo>
                        <a:pt x="172943" y="204101"/>
                      </a:lnTo>
                      <a:cubicBezTo>
                        <a:pt x="176852" y="204101"/>
                        <a:pt x="179891" y="201062"/>
                        <a:pt x="179891" y="197153"/>
                      </a:cubicBezTo>
                      <a:lnTo>
                        <a:pt x="179891" y="120724"/>
                      </a:lnTo>
                      <a:cubicBezTo>
                        <a:pt x="179891" y="117250"/>
                        <a:pt x="176852" y="114210"/>
                        <a:pt x="173378" y="113776"/>
                      </a:cubicBezTo>
                      <a:close/>
                      <a:moveTo>
                        <a:pt x="60036" y="164150"/>
                      </a:moveTo>
                      <a:lnTo>
                        <a:pt x="14873" y="97274"/>
                      </a:lnTo>
                      <a:lnTo>
                        <a:pt x="60470" y="23450"/>
                      </a:lnTo>
                      <a:cubicBezTo>
                        <a:pt x="62207" y="20844"/>
                        <a:pt x="61773" y="17805"/>
                        <a:pt x="59602" y="15633"/>
                      </a:cubicBezTo>
                      <a:lnTo>
                        <a:pt x="106936" y="13462"/>
                      </a:lnTo>
                      <a:lnTo>
                        <a:pt x="124306" y="60362"/>
                      </a:lnTo>
                      <a:lnTo>
                        <a:pt x="121701" y="59059"/>
                      </a:lnTo>
                      <a:cubicBezTo>
                        <a:pt x="119964" y="58191"/>
                        <a:pt x="118227" y="57756"/>
                        <a:pt x="116490" y="58625"/>
                      </a:cubicBezTo>
                      <a:cubicBezTo>
                        <a:pt x="114753" y="59059"/>
                        <a:pt x="113450" y="60362"/>
                        <a:pt x="112581" y="62099"/>
                      </a:cubicBezTo>
                      <a:lnTo>
                        <a:pt x="86526" y="114210"/>
                      </a:lnTo>
                      <a:lnTo>
                        <a:pt x="60036" y="164150"/>
                      </a:lnTo>
                      <a:close/>
                      <a:moveTo>
                        <a:pt x="165995" y="190639"/>
                      </a:moveTo>
                      <a:lnTo>
                        <a:pt x="77407" y="190639"/>
                      </a:lnTo>
                      <a:lnTo>
                        <a:pt x="68721" y="177177"/>
                      </a:lnTo>
                      <a:lnTo>
                        <a:pt x="96514" y="124198"/>
                      </a:lnTo>
                      <a:lnTo>
                        <a:pt x="165995" y="127238"/>
                      </a:lnTo>
                      <a:lnTo>
                        <a:pt x="165995" y="190639"/>
                      </a:lnTo>
                      <a:close/>
                    </a:path>
                  </a:pathLst>
                </a:custGeom>
                <a:grpFill/>
                <a:ln w="107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41" name="Freeform: Shape 40">
                  <a:extLst>
                    <a:ext uri="{FF2B5EF4-FFF2-40B4-BE49-F238E27FC236}">
                      <a16:creationId xmlns:a16="http://schemas.microsoft.com/office/drawing/2014/main" id="{19F51567-DD55-F7F8-DE1E-B2CD4086442E}"/>
                    </a:ext>
                  </a:extLst>
                </p:cNvPr>
                <p:cNvSpPr/>
                <p:nvPr/>
              </p:nvSpPr>
              <p:spPr>
                <a:xfrm>
                  <a:off x="10624377" y="1789521"/>
                  <a:ext cx="191350" cy="224336"/>
                </a:xfrm>
                <a:custGeom>
                  <a:avLst/>
                  <a:gdLst>
                    <a:gd name="connsiteX0" fmla="*/ 190699 w 191350"/>
                    <a:gd name="connsiteY0" fmla="*/ 93191 h 224336"/>
                    <a:gd name="connsiteX1" fmla="*/ 147274 w 191350"/>
                    <a:gd name="connsiteY1" fmla="*/ 3734 h 224336"/>
                    <a:gd name="connsiteX2" fmla="*/ 143365 w 191350"/>
                    <a:gd name="connsiteY2" fmla="*/ 260 h 224336"/>
                    <a:gd name="connsiteX3" fmla="*/ 138154 w 191350"/>
                    <a:gd name="connsiteY3" fmla="*/ 1128 h 224336"/>
                    <a:gd name="connsiteX4" fmla="*/ 68673 w 191350"/>
                    <a:gd name="connsiteY4" fmla="*/ 39777 h 224336"/>
                    <a:gd name="connsiteX5" fmla="*/ 66067 w 191350"/>
                    <a:gd name="connsiteY5" fmla="*/ 48897 h 224336"/>
                    <a:gd name="connsiteX6" fmla="*/ 99939 w 191350"/>
                    <a:gd name="connsiteY6" fmla="*/ 110127 h 224336"/>
                    <a:gd name="connsiteX7" fmla="*/ 59119 w 191350"/>
                    <a:gd name="connsiteY7" fmla="*/ 113601 h 224336"/>
                    <a:gd name="connsiteX8" fmla="*/ 58685 w 191350"/>
                    <a:gd name="connsiteY8" fmla="*/ 99705 h 224336"/>
                    <a:gd name="connsiteX9" fmla="*/ 53908 w 191350"/>
                    <a:gd name="connsiteY9" fmla="*/ 93625 h 224336"/>
                    <a:gd name="connsiteX10" fmla="*/ 46526 w 191350"/>
                    <a:gd name="connsiteY10" fmla="*/ 95797 h 224336"/>
                    <a:gd name="connsiteX11" fmla="*/ 1363 w 191350"/>
                    <a:gd name="connsiteY11" fmla="*/ 153553 h 224336"/>
                    <a:gd name="connsiteX12" fmla="*/ 929 w 191350"/>
                    <a:gd name="connsiteY12" fmla="*/ 161369 h 224336"/>
                    <a:gd name="connsiteX13" fmla="*/ 41315 w 191350"/>
                    <a:gd name="connsiteY13" fmla="*/ 221297 h 224336"/>
                    <a:gd name="connsiteX14" fmla="*/ 46960 w 191350"/>
                    <a:gd name="connsiteY14" fmla="*/ 224337 h 224336"/>
                    <a:gd name="connsiteX15" fmla="*/ 48697 w 191350"/>
                    <a:gd name="connsiteY15" fmla="*/ 223903 h 224336"/>
                    <a:gd name="connsiteX16" fmla="*/ 53474 w 191350"/>
                    <a:gd name="connsiteY16" fmla="*/ 217823 h 224336"/>
                    <a:gd name="connsiteX17" fmla="*/ 53908 w 191350"/>
                    <a:gd name="connsiteY17" fmla="*/ 205664 h 224336"/>
                    <a:gd name="connsiteX18" fmla="*/ 138154 w 191350"/>
                    <a:gd name="connsiteY18" fmla="*/ 205664 h 224336"/>
                    <a:gd name="connsiteX19" fmla="*/ 144234 w 191350"/>
                    <a:gd name="connsiteY19" fmla="*/ 201755 h 224336"/>
                    <a:gd name="connsiteX20" fmla="*/ 190699 w 191350"/>
                    <a:gd name="connsiteY20" fmla="*/ 98836 h 224336"/>
                    <a:gd name="connsiteX21" fmla="*/ 190699 w 191350"/>
                    <a:gd name="connsiteY21" fmla="*/ 93191 h 224336"/>
                    <a:gd name="connsiteX22" fmla="*/ 134680 w 191350"/>
                    <a:gd name="connsiteY22" fmla="*/ 192636 h 224336"/>
                    <a:gd name="connsiteX23" fmla="*/ 48263 w 191350"/>
                    <a:gd name="connsiteY23" fmla="*/ 192636 h 224336"/>
                    <a:gd name="connsiteX24" fmla="*/ 41749 w 191350"/>
                    <a:gd name="connsiteY24" fmla="*/ 197413 h 224336"/>
                    <a:gd name="connsiteX25" fmla="*/ 15259 w 191350"/>
                    <a:gd name="connsiteY25" fmla="*/ 157895 h 224336"/>
                    <a:gd name="connsiteX26" fmla="*/ 46091 w 191350"/>
                    <a:gd name="connsiteY26" fmla="*/ 118378 h 224336"/>
                    <a:gd name="connsiteX27" fmla="*/ 46091 w 191350"/>
                    <a:gd name="connsiteY27" fmla="*/ 121418 h 224336"/>
                    <a:gd name="connsiteX28" fmla="*/ 48263 w 191350"/>
                    <a:gd name="connsiteY28" fmla="*/ 126195 h 224336"/>
                    <a:gd name="connsiteX29" fmla="*/ 53474 w 191350"/>
                    <a:gd name="connsiteY29" fmla="*/ 127932 h 224336"/>
                    <a:gd name="connsiteX30" fmla="*/ 111664 w 191350"/>
                    <a:gd name="connsiteY30" fmla="*/ 122721 h 224336"/>
                    <a:gd name="connsiteX31" fmla="*/ 168118 w 191350"/>
                    <a:gd name="connsiteY31" fmla="*/ 118812 h 224336"/>
                    <a:gd name="connsiteX32" fmla="*/ 134680 w 191350"/>
                    <a:gd name="connsiteY32" fmla="*/ 192636 h 224336"/>
                    <a:gd name="connsiteX33" fmla="*/ 173763 w 191350"/>
                    <a:gd name="connsiteY33" fmla="*/ 104482 h 224336"/>
                    <a:gd name="connsiteX34" fmla="*/ 114270 w 191350"/>
                    <a:gd name="connsiteY34" fmla="*/ 108824 h 224336"/>
                    <a:gd name="connsiteX35" fmla="*/ 80832 w 191350"/>
                    <a:gd name="connsiteY35" fmla="*/ 48028 h 224336"/>
                    <a:gd name="connsiteX36" fmla="*/ 138154 w 191350"/>
                    <a:gd name="connsiteY36" fmla="*/ 15893 h 224336"/>
                    <a:gd name="connsiteX37" fmla="*/ 177672 w 191350"/>
                    <a:gd name="connsiteY37" fmla="*/ 96231 h 224336"/>
                    <a:gd name="connsiteX38" fmla="*/ 173763 w 191350"/>
                    <a:gd name="connsiteY38" fmla="*/ 104482 h 22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1350" h="224336">
                      <a:moveTo>
                        <a:pt x="190699" y="93191"/>
                      </a:moveTo>
                      <a:lnTo>
                        <a:pt x="147274" y="3734"/>
                      </a:lnTo>
                      <a:cubicBezTo>
                        <a:pt x="146405" y="1997"/>
                        <a:pt x="145102" y="694"/>
                        <a:pt x="143365" y="260"/>
                      </a:cubicBezTo>
                      <a:cubicBezTo>
                        <a:pt x="141628" y="-175"/>
                        <a:pt x="139891" y="-175"/>
                        <a:pt x="138154" y="1128"/>
                      </a:cubicBezTo>
                      <a:lnTo>
                        <a:pt x="68673" y="39777"/>
                      </a:lnTo>
                      <a:cubicBezTo>
                        <a:pt x="65633" y="41514"/>
                        <a:pt x="64330" y="45857"/>
                        <a:pt x="66067" y="48897"/>
                      </a:cubicBezTo>
                      <a:lnTo>
                        <a:pt x="99939" y="110127"/>
                      </a:lnTo>
                      <a:lnTo>
                        <a:pt x="59119" y="113601"/>
                      </a:lnTo>
                      <a:lnTo>
                        <a:pt x="58685" y="99705"/>
                      </a:lnTo>
                      <a:cubicBezTo>
                        <a:pt x="58685" y="96665"/>
                        <a:pt x="56514" y="94494"/>
                        <a:pt x="53908" y="93625"/>
                      </a:cubicBezTo>
                      <a:cubicBezTo>
                        <a:pt x="51303" y="92757"/>
                        <a:pt x="48263" y="93625"/>
                        <a:pt x="46526" y="95797"/>
                      </a:cubicBezTo>
                      <a:lnTo>
                        <a:pt x="1363" y="153553"/>
                      </a:lnTo>
                      <a:cubicBezTo>
                        <a:pt x="-374" y="155724"/>
                        <a:pt x="-374" y="159198"/>
                        <a:pt x="929" y="161369"/>
                      </a:cubicBezTo>
                      <a:lnTo>
                        <a:pt x="41315" y="221297"/>
                      </a:lnTo>
                      <a:cubicBezTo>
                        <a:pt x="42617" y="223034"/>
                        <a:pt x="44789" y="224337"/>
                        <a:pt x="46960" y="224337"/>
                      </a:cubicBezTo>
                      <a:cubicBezTo>
                        <a:pt x="47394" y="224337"/>
                        <a:pt x="48263" y="224337"/>
                        <a:pt x="48697" y="223903"/>
                      </a:cubicBezTo>
                      <a:cubicBezTo>
                        <a:pt x="51303" y="223034"/>
                        <a:pt x="53474" y="220429"/>
                        <a:pt x="53474" y="217823"/>
                      </a:cubicBezTo>
                      <a:lnTo>
                        <a:pt x="53908" y="205664"/>
                      </a:lnTo>
                      <a:lnTo>
                        <a:pt x="138154" y="205664"/>
                      </a:lnTo>
                      <a:cubicBezTo>
                        <a:pt x="140760" y="205664"/>
                        <a:pt x="143365" y="203927"/>
                        <a:pt x="144234" y="201755"/>
                      </a:cubicBezTo>
                      <a:lnTo>
                        <a:pt x="190699" y="98836"/>
                      </a:lnTo>
                      <a:cubicBezTo>
                        <a:pt x="191568" y="97099"/>
                        <a:pt x="191568" y="94928"/>
                        <a:pt x="190699" y="93191"/>
                      </a:cubicBezTo>
                      <a:close/>
                      <a:moveTo>
                        <a:pt x="134680" y="192636"/>
                      </a:moveTo>
                      <a:lnTo>
                        <a:pt x="48263" y="192636"/>
                      </a:lnTo>
                      <a:cubicBezTo>
                        <a:pt x="45223" y="192636"/>
                        <a:pt x="42617" y="194807"/>
                        <a:pt x="41749" y="197413"/>
                      </a:cubicBezTo>
                      <a:lnTo>
                        <a:pt x="15259" y="157895"/>
                      </a:lnTo>
                      <a:lnTo>
                        <a:pt x="46091" y="118378"/>
                      </a:lnTo>
                      <a:lnTo>
                        <a:pt x="46091" y="121418"/>
                      </a:lnTo>
                      <a:cubicBezTo>
                        <a:pt x="46091" y="123155"/>
                        <a:pt x="46960" y="124892"/>
                        <a:pt x="48263" y="126195"/>
                      </a:cubicBezTo>
                      <a:cubicBezTo>
                        <a:pt x="49566" y="127497"/>
                        <a:pt x="51303" y="127932"/>
                        <a:pt x="53474" y="127932"/>
                      </a:cubicBezTo>
                      <a:lnTo>
                        <a:pt x="111664" y="122721"/>
                      </a:lnTo>
                      <a:lnTo>
                        <a:pt x="168118" y="118812"/>
                      </a:lnTo>
                      <a:lnTo>
                        <a:pt x="134680" y="192636"/>
                      </a:lnTo>
                      <a:close/>
                      <a:moveTo>
                        <a:pt x="173763" y="104482"/>
                      </a:moveTo>
                      <a:lnTo>
                        <a:pt x="114270" y="108824"/>
                      </a:lnTo>
                      <a:lnTo>
                        <a:pt x="80832" y="48028"/>
                      </a:lnTo>
                      <a:lnTo>
                        <a:pt x="138154" y="15893"/>
                      </a:lnTo>
                      <a:lnTo>
                        <a:pt x="177672" y="96231"/>
                      </a:lnTo>
                      <a:lnTo>
                        <a:pt x="173763" y="104482"/>
                      </a:lnTo>
                      <a:close/>
                    </a:path>
                  </a:pathLst>
                </a:custGeom>
                <a:grpFill/>
                <a:ln w="107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grpSp>
        <p:nvGrpSpPr>
          <p:cNvPr id="42" name="Group 41">
            <a:extLst>
              <a:ext uri="{FF2B5EF4-FFF2-40B4-BE49-F238E27FC236}">
                <a16:creationId xmlns:a16="http://schemas.microsoft.com/office/drawing/2014/main" id="{A9288226-DBB8-6AFB-DF5D-D44E36C333AE}"/>
              </a:ext>
            </a:extLst>
          </p:cNvPr>
          <p:cNvGrpSpPr/>
          <p:nvPr/>
        </p:nvGrpSpPr>
        <p:grpSpPr>
          <a:xfrm>
            <a:off x="2565305" y="960258"/>
            <a:ext cx="2289553" cy="5263600"/>
            <a:chOff x="2565305" y="960258"/>
            <a:chExt cx="2289553" cy="5263600"/>
          </a:xfrm>
        </p:grpSpPr>
        <p:sp>
          <p:nvSpPr>
            <p:cNvPr id="43" name="TextBox 42">
              <a:extLst>
                <a:ext uri="{FF2B5EF4-FFF2-40B4-BE49-F238E27FC236}">
                  <a16:creationId xmlns:a16="http://schemas.microsoft.com/office/drawing/2014/main" id="{6CA3ED51-7CE8-229F-E8F2-08C77AE78D36}"/>
                </a:ext>
              </a:extLst>
            </p:cNvPr>
            <p:cNvSpPr txBox="1">
              <a:spLocks/>
            </p:cNvSpPr>
            <p:nvPr/>
          </p:nvSpPr>
          <p:spPr>
            <a:xfrm>
              <a:off x="2565305" y="1542672"/>
              <a:ext cx="2289553" cy="1101838"/>
            </a:xfrm>
            <a:prstGeom prst="rect">
              <a:avLst/>
            </a:prstGeom>
            <a:solidFill>
              <a:srgbClr val="00146D"/>
            </a:solidFill>
            <a:ln w="25400">
              <a:noFill/>
            </a:ln>
          </p:spPr>
          <p:txBody>
            <a:bodyPr wrap="square" lIns="76200" tIns="76200" rIns="76200" bIns="76200" anchor="ctr">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Directing finance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towards sustainable resource use</a:t>
              </a:r>
            </a:p>
          </p:txBody>
        </p:sp>
        <p:sp>
          <p:nvSpPr>
            <p:cNvPr id="44" name="TextBox 43">
              <a:extLst>
                <a:ext uri="{FF2B5EF4-FFF2-40B4-BE49-F238E27FC236}">
                  <a16:creationId xmlns:a16="http://schemas.microsoft.com/office/drawing/2014/main" id="{76AFC2D4-A7E1-29BC-3AA2-B9DAAD0DCA7B}"/>
                </a:ext>
              </a:extLst>
            </p:cNvPr>
            <p:cNvSpPr txBox="1">
              <a:spLocks/>
            </p:cNvSpPr>
            <p:nvPr/>
          </p:nvSpPr>
          <p:spPr>
            <a:xfrm>
              <a:off x="2565305" y="2668520"/>
              <a:ext cx="2289553" cy="3555338"/>
            </a:xfrm>
            <a:prstGeom prst="rect">
              <a:avLst/>
            </a:prstGeom>
            <a:solidFill>
              <a:srgbClr val="FFFFFF">
                <a:lumMod val="95000"/>
              </a:srgbClr>
            </a:solidFill>
          </p:spPr>
          <p:txBody>
            <a:bodyPr wrap="square" rIns="36000">
              <a:noAutofit/>
            </a:bodyPr>
            <a:lstStyle/>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Internalizing the environmental and social costs of resource extraction</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Redirecting, repurposing and reforming public subsidies for sustainable resource</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Channeling private finance towards sustain-able resource use</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Incorporating resource-related risk into Public and Central Bank mandates</a:t>
              </a:r>
            </a:p>
          </p:txBody>
        </p:sp>
        <p:grpSp>
          <p:nvGrpSpPr>
            <p:cNvPr id="45" name="Group 44">
              <a:extLst>
                <a:ext uri="{FF2B5EF4-FFF2-40B4-BE49-F238E27FC236}">
                  <a16:creationId xmlns:a16="http://schemas.microsoft.com/office/drawing/2014/main" id="{EF163AE2-9B1C-0B3A-9219-43A1F8320BE1}"/>
                </a:ext>
              </a:extLst>
            </p:cNvPr>
            <p:cNvGrpSpPr>
              <a:grpSpLocks/>
            </p:cNvGrpSpPr>
            <p:nvPr/>
          </p:nvGrpSpPr>
          <p:grpSpPr>
            <a:xfrm>
              <a:off x="3387016" y="960258"/>
              <a:ext cx="646130" cy="646128"/>
              <a:chOff x="3587336" y="1177926"/>
              <a:chExt cx="646130" cy="646128"/>
            </a:xfrm>
          </p:grpSpPr>
          <p:sp>
            <p:nvSpPr>
              <p:cNvPr id="46" name="Oval 45">
                <a:extLst>
                  <a:ext uri="{FF2B5EF4-FFF2-40B4-BE49-F238E27FC236}">
                    <a16:creationId xmlns:a16="http://schemas.microsoft.com/office/drawing/2014/main" id="{A01CE322-56BA-EB7D-57F2-BF984234A6A7}"/>
                  </a:ext>
                </a:extLst>
              </p:cNvPr>
              <p:cNvSpPr/>
              <p:nvPr/>
            </p:nvSpPr>
            <p:spPr>
              <a:xfrm>
                <a:off x="3587336" y="1177926"/>
                <a:ext cx="646130" cy="646128"/>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1" i="1" u="none" strike="noStrike" kern="0" cap="none" spc="0" normalizeH="0" baseline="0" noProof="0" dirty="0">
                  <a:ln>
                    <a:noFill/>
                  </a:ln>
                  <a:solidFill>
                    <a:srgbClr val="000000"/>
                  </a:solidFill>
                  <a:effectLst/>
                  <a:uLnTx/>
                  <a:uFillTx/>
                  <a:latin typeface="Century Gothic" panose="020B0502020202020204" pitchFamily="34" charset="0"/>
                  <a:sym typeface="Arial"/>
                </a:endParaRPr>
              </a:p>
            </p:txBody>
          </p:sp>
          <p:grpSp>
            <p:nvGrpSpPr>
              <p:cNvPr id="47" name="Group 46">
                <a:extLst>
                  <a:ext uri="{FF2B5EF4-FFF2-40B4-BE49-F238E27FC236}">
                    <a16:creationId xmlns:a16="http://schemas.microsoft.com/office/drawing/2014/main" id="{CAA54AF7-44FE-7D78-E121-5C91343D7078}"/>
                  </a:ext>
                </a:extLst>
              </p:cNvPr>
              <p:cNvGrpSpPr/>
              <p:nvPr/>
            </p:nvGrpSpPr>
            <p:grpSpPr>
              <a:xfrm>
                <a:off x="3717821" y="1308410"/>
                <a:ext cx="385161" cy="385161"/>
                <a:chOff x="4664753" y="1649612"/>
                <a:chExt cx="385161" cy="385161"/>
              </a:xfrm>
              <a:solidFill>
                <a:srgbClr val="00146D"/>
              </a:solidFill>
            </p:grpSpPr>
            <p:sp>
              <p:nvSpPr>
                <p:cNvPr id="48" name="Freeform: Shape 47">
                  <a:extLst>
                    <a:ext uri="{FF2B5EF4-FFF2-40B4-BE49-F238E27FC236}">
                      <a16:creationId xmlns:a16="http://schemas.microsoft.com/office/drawing/2014/main" id="{F726FB74-F944-CFC3-4D34-F01B283940B1}"/>
                    </a:ext>
                  </a:extLst>
                </p:cNvPr>
                <p:cNvSpPr/>
                <p:nvPr/>
              </p:nvSpPr>
              <p:spPr>
                <a:xfrm>
                  <a:off x="4664753" y="1649612"/>
                  <a:ext cx="385161" cy="385161"/>
                </a:xfrm>
                <a:custGeom>
                  <a:avLst/>
                  <a:gdLst>
                    <a:gd name="connsiteX0" fmla="*/ 298190 w 385161"/>
                    <a:gd name="connsiteY0" fmla="*/ 199110 h 385161"/>
                    <a:gd name="connsiteX1" fmla="*/ 298190 w 385161"/>
                    <a:gd name="connsiteY1" fmla="*/ 111821 h 385161"/>
                    <a:gd name="connsiteX2" fmla="*/ 354100 w 385161"/>
                    <a:gd name="connsiteY2" fmla="*/ 111821 h 385161"/>
                    <a:gd name="connsiteX3" fmla="*/ 319311 w 385161"/>
                    <a:gd name="connsiteY3" fmla="*/ 137913 h 385161"/>
                    <a:gd name="connsiteX4" fmla="*/ 326766 w 385161"/>
                    <a:gd name="connsiteY4" fmla="*/ 147852 h 385161"/>
                    <a:gd name="connsiteX5" fmla="*/ 383087 w 385161"/>
                    <a:gd name="connsiteY5" fmla="*/ 105609 h 385161"/>
                    <a:gd name="connsiteX6" fmla="*/ 326766 w 385161"/>
                    <a:gd name="connsiteY6" fmla="*/ 63365 h 385161"/>
                    <a:gd name="connsiteX7" fmla="*/ 319311 w 385161"/>
                    <a:gd name="connsiteY7" fmla="*/ 73305 h 385161"/>
                    <a:gd name="connsiteX8" fmla="*/ 354100 w 385161"/>
                    <a:gd name="connsiteY8" fmla="*/ 99397 h 385161"/>
                    <a:gd name="connsiteX9" fmla="*/ 298190 w 385161"/>
                    <a:gd name="connsiteY9" fmla="*/ 99397 h 385161"/>
                    <a:gd name="connsiteX10" fmla="*/ 298190 w 385161"/>
                    <a:gd name="connsiteY10" fmla="*/ 48555 h 385161"/>
                    <a:gd name="connsiteX11" fmla="*/ 310614 w 385161"/>
                    <a:gd name="connsiteY11" fmla="*/ 31061 h 385161"/>
                    <a:gd name="connsiteX12" fmla="*/ 310614 w 385161"/>
                    <a:gd name="connsiteY12" fmla="*/ 18637 h 385161"/>
                    <a:gd name="connsiteX13" fmla="*/ 291977 w 385161"/>
                    <a:gd name="connsiteY13" fmla="*/ 0 h 385161"/>
                    <a:gd name="connsiteX14" fmla="*/ 18637 w 385161"/>
                    <a:gd name="connsiteY14" fmla="*/ 0 h 385161"/>
                    <a:gd name="connsiteX15" fmla="*/ 0 w 385161"/>
                    <a:gd name="connsiteY15" fmla="*/ 18637 h 385161"/>
                    <a:gd name="connsiteX16" fmla="*/ 0 w 385161"/>
                    <a:gd name="connsiteY16" fmla="*/ 31061 h 385161"/>
                    <a:gd name="connsiteX17" fmla="*/ 12425 w 385161"/>
                    <a:gd name="connsiteY17" fmla="*/ 48555 h 385161"/>
                    <a:gd name="connsiteX18" fmla="*/ 12425 w 385161"/>
                    <a:gd name="connsiteY18" fmla="*/ 242279 h 385161"/>
                    <a:gd name="connsiteX19" fmla="*/ 31061 w 385161"/>
                    <a:gd name="connsiteY19" fmla="*/ 260916 h 385161"/>
                    <a:gd name="connsiteX20" fmla="*/ 149095 w 385161"/>
                    <a:gd name="connsiteY20" fmla="*/ 260916 h 385161"/>
                    <a:gd name="connsiteX21" fmla="*/ 149095 w 385161"/>
                    <a:gd name="connsiteY21" fmla="*/ 298687 h 385161"/>
                    <a:gd name="connsiteX22" fmla="*/ 111821 w 385161"/>
                    <a:gd name="connsiteY22" fmla="*/ 341675 h 385161"/>
                    <a:gd name="connsiteX23" fmla="*/ 155307 w 385161"/>
                    <a:gd name="connsiteY23" fmla="*/ 385161 h 385161"/>
                    <a:gd name="connsiteX24" fmla="*/ 198793 w 385161"/>
                    <a:gd name="connsiteY24" fmla="*/ 341675 h 385161"/>
                    <a:gd name="connsiteX25" fmla="*/ 161519 w 385161"/>
                    <a:gd name="connsiteY25" fmla="*/ 298687 h 385161"/>
                    <a:gd name="connsiteX26" fmla="*/ 161519 w 385161"/>
                    <a:gd name="connsiteY26" fmla="*/ 260916 h 385161"/>
                    <a:gd name="connsiteX27" fmla="*/ 204229 w 385161"/>
                    <a:gd name="connsiteY27" fmla="*/ 260916 h 385161"/>
                    <a:gd name="connsiteX28" fmla="*/ 198793 w 385161"/>
                    <a:gd name="connsiteY28" fmla="*/ 291977 h 385161"/>
                    <a:gd name="connsiteX29" fmla="*/ 291977 w 385161"/>
                    <a:gd name="connsiteY29" fmla="*/ 385161 h 385161"/>
                    <a:gd name="connsiteX30" fmla="*/ 385161 w 385161"/>
                    <a:gd name="connsiteY30" fmla="*/ 291977 h 385161"/>
                    <a:gd name="connsiteX31" fmla="*/ 298190 w 385161"/>
                    <a:gd name="connsiteY31" fmla="*/ 199110 h 385161"/>
                    <a:gd name="connsiteX32" fmla="*/ 186368 w 385161"/>
                    <a:gd name="connsiteY32" fmla="*/ 341675 h 385161"/>
                    <a:gd name="connsiteX33" fmla="*/ 155307 w 385161"/>
                    <a:gd name="connsiteY33" fmla="*/ 372737 h 385161"/>
                    <a:gd name="connsiteX34" fmla="*/ 124246 w 385161"/>
                    <a:gd name="connsiteY34" fmla="*/ 341675 h 385161"/>
                    <a:gd name="connsiteX35" fmla="*/ 155307 w 385161"/>
                    <a:gd name="connsiteY35" fmla="*/ 310614 h 385161"/>
                    <a:gd name="connsiteX36" fmla="*/ 186368 w 385161"/>
                    <a:gd name="connsiteY36" fmla="*/ 341675 h 385161"/>
                    <a:gd name="connsiteX37" fmla="*/ 285765 w 385161"/>
                    <a:gd name="connsiteY37" fmla="*/ 199110 h 385161"/>
                    <a:gd name="connsiteX38" fmla="*/ 260916 w 385161"/>
                    <a:gd name="connsiteY38" fmla="*/ 204229 h 385161"/>
                    <a:gd name="connsiteX39" fmla="*/ 260916 w 385161"/>
                    <a:gd name="connsiteY39" fmla="*/ 124047 h 385161"/>
                    <a:gd name="connsiteX40" fmla="*/ 275589 w 385161"/>
                    <a:gd name="connsiteY40" fmla="*/ 111821 h 385161"/>
                    <a:gd name="connsiteX41" fmla="*/ 285765 w 385161"/>
                    <a:gd name="connsiteY41" fmla="*/ 111821 h 385161"/>
                    <a:gd name="connsiteX42" fmla="*/ 245690 w 385161"/>
                    <a:gd name="connsiteY42" fmla="*/ 211218 h 385161"/>
                    <a:gd name="connsiteX43" fmla="*/ 223642 w 385161"/>
                    <a:gd name="connsiteY43" fmla="*/ 211218 h 385161"/>
                    <a:gd name="connsiteX44" fmla="*/ 223642 w 385161"/>
                    <a:gd name="connsiteY44" fmla="*/ 155108 h 385161"/>
                    <a:gd name="connsiteX45" fmla="*/ 248491 w 385161"/>
                    <a:gd name="connsiteY45" fmla="*/ 134403 h 385161"/>
                    <a:gd name="connsiteX46" fmla="*/ 248491 w 385161"/>
                    <a:gd name="connsiteY46" fmla="*/ 209627 h 385161"/>
                    <a:gd name="connsiteX47" fmla="*/ 245690 w 385161"/>
                    <a:gd name="connsiteY47" fmla="*/ 211218 h 385161"/>
                    <a:gd name="connsiteX48" fmla="*/ 52270 w 385161"/>
                    <a:gd name="connsiteY48" fmla="*/ 211218 h 385161"/>
                    <a:gd name="connsiteX49" fmla="*/ 99397 w 385161"/>
                    <a:gd name="connsiteY49" fmla="*/ 164091 h 385161"/>
                    <a:gd name="connsiteX50" fmla="*/ 99397 w 385161"/>
                    <a:gd name="connsiteY50" fmla="*/ 211218 h 385161"/>
                    <a:gd name="connsiteX51" fmla="*/ 111821 w 385161"/>
                    <a:gd name="connsiteY51" fmla="*/ 151667 h 385161"/>
                    <a:gd name="connsiteX52" fmla="*/ 136670 w 385161"/>
                    <a:gd name="connsiteY52" fmla="*/ 126818 h 385161"/>
                    <a:gd name="connsiteX53" fmla="*/ 136670 w 385161"/>
                    <a:gd name="connsiteY53" fmla="*/ 211218 h 385161"/>
                    <a:gd name="connsiteX54" fmla="*/ 111821 w 385161"/>
                    <a:gd name="connsiteY54" fmla="*/ 211218 h 385161"/>
                    <a:gd name="connsiteX55" fmla="*/ 149095 w 385161"/>
                    <a:gd name="connsiteY55" fmla="*/ 126818 h 385161"/>
                    <a:gd name="connsiteX56" fmla="*/ 173944 w 385161"/>
                    <a:gd name="connsiteY56" fmla="*/ 151667 h 385161"/>
                    <a:gd name="connsiteX57" fmla="*/ 173944 w 385161"/>
                    <a:gd name="connsiteY57" fmla="*/ 211218 h 385161"/>
                    <a:gd name="connsiteX58" fmla="*/ 149095 w 385161"/>
                    <a:gd name="connsiteY58" fmla="*/ 211218 h 385161"/>
                    <a:gd name="connsiteX59" fmla="*/ 186368 w 385161"/>
                    <a:gd name="connsiteY59" fmla="*/ 164091 h 385161"/>
                    <a:gd name="connsiteX60" fmla="*/ 198408 w 385161"/>
                    <a:gd name="connsiteY60" fmla="*/ 176131 h 385161"/>
                    <a:gd name="connsiteX61" fmla="*/ 211218 w 385161"/>
                    <a:gd name="connsiteY61" fmla="*/ 165464 h 385161"/>
                    <a:gd name="connsiteX62" fmla="*/ 211218 w 385161"/>
                    <a:gd name="connsiteY62" fmla="*/ 211218 h 385161"/>
                    <a:gd name="connsiteX63" fmla="*/ 186368 w 385161"/>
                    <a:gd name="connsiteY63" fmla="*/ 211218 h 385161"/>
                    <a:gd name="connsiteX64" fmla="*/ 12425 w 385161"/>
                    <a:gd name="connsiteY64" fmla="*/ 18637 h 385161"/>
                    <a:gd name="connsiteX65" fmla="*/ 18637 w 385161"/>
                    <a:gd name="connsiteY65" fmla="*/ 12425 h 385161"/>
                    <a:gd name="connsiteX66" fmla="*/ 291977 w 385161"/>
                    <a:gd name="connsiteY66" fmla="*/ 12425 h 385161"/>
                    <a:gd name="connsiteX67" fmla="*/ 298190 w 385161"/>
                    <a:gd name="connsiteY67" fmla="*/ 18637 h 385161"/>
                    <a:gd name="connsiteX68" fmla="*/ 298190 w 385161"/>
                    <a:gd name="connsiteY68" fmla="*/ 31061 h 385161"/>
                    <a:gd name="connsiteX69" fmla="*/ 291977 w 385161"/>
                    <a:gd name="connsiteY69" fmla="*/ 37274 h 385161"/>
                    <a:gd name="connsiteX70" fmla="*/ 18637 w 385161"/>
                    <a:gd name="connsiteY70" fmla="*/ 37274 h 385161"/>
                    <a:gd name="connsiteX71" fmla="*/ 12425 w 385161"/>
                    <a:gd name="connsiteY71" fmla="*/ 31061 h 385161"/>
                    <a:gd name="connsiteX72" fmla="*/ 31061 w 385161"/>
                    <a:gd name="connsiteY72" fmla="*/ 248491 h 385161"/>
                    <a:gd name="connsiteX73" fmla="*/ 24849 w 385161"/>
                    <a:gd name="connsiteY73" fmla="*/ 242279 h 385161"/>
                    <a:gd name="connsiteX74" fmla="*/ 24849 w 385161"/>
                    <a:gd name="connsiteY74" fmla="*/ 49698 h 385161"/>
                    <a:gd name="connsiteX75" fmla="*/ 285765 w 385161"/>
                    <a:gd name="connsiteY75" fmla="*/ 49698 h 385161"/>
                    <a:gd name="connsiteX76" fmla="*/ 285765 w 385161"/>
                    <a:gd name="connsiteY76" fmla="*/ 99397 h 385161"/>
                    <a:gd name="connsiteX77" fmla="*/ 271092 w 385161"/>
                    <a:gd name="connsiteY77" fmla="*/ 99397 h 385161"/>
                    <a:gd name="connsiteX78" fmla="*/ 199172 w 385161"/>
                    <a:gd name="connsiteY78" fmla="*/ 159326 h 385161"/>
                    <a:gd name="connsiteX79" fmla="*/ 142882 w 385161"/>
                    <a:gd name="connsiteY79" fmla="*/ 103037 h 385161"/>
                    <a:gd name="connsiteX80" fmla="*/ 37274 w 385161"/>
                    <a:gd name="connsiteY80" fmla="*/ 208646 h 385161"/>
                    <a:gd name="connsiteX81" fmla="*/ 37274 w 385161"/>
                    <a:gd name="connsiteY81" fmla="*/ 223642 h 385161"/>
                    <a:gd name="connsiteX82" fmla="*/ 228836 w 385161"/>
                    <a:gd name="connsiteY82" fmla="*/ 223642 h 385161"/>
                    <a:gd name="connsiteX83" fmla="*/ 209621 w 385161"/>
                    <a:gd name="connsiteY83" fmla="*/ 248491 h 385161"/>
                    <a:gd name="connsiteX84" fmla="*/ 291977 w 385161"/>
                    <a:gd name="connsiteY84" fmla="*/ 372737 h 385161"/>
                    <a:gd name="connsiteX85" fmla="*/ 211218 w 385161"/>
                    <a:gd name="connsiteY85" fmla="*/ 291977 h 385161"/>
                    <a:gd name="connsiteX86" fmla="*/ 291977 w 385161"/>
                    <a:gd name="connsiteY86" fmla="*/ 211218 h 385161"/>
                    <a:gd name="connsiteX87" fmla="*/ 372737 w 385161"/>
                    <a:gd name="connsiteY87" fmla="*/ 291977 h 385161"/>
                    <a:gd name="connsiteX88" fmla="*/ 291977 w 385161"/>
                    <a:gd name="connsiteY88" fmla="*/ 372737 h 38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85161" h="385161">
                      <a:moveTo>
                        <a:pt x="298190" y="199110"/>
                      </a:moveTo>
                      <a:lnTo>
                        <a:pt x="298190" y="111821"/>
                      </a:lnTo>
                      <a:lnTo>
                        <a:pt x="354100" y="111821"/>
                      </a:lnTo>
                      <a:lnTo>
                        <a:pt x="319311" y="137913"/>
                      </a:lnTo>
                      <a:lnTo>
                        <a:pt x="326766" y="147852"/>
                      </a:lnTo>
                      <a:lnTo>
                        <a:pt x="383087" y="105609"/>
                      </a:lnTo>
                      <a:lnTo>
                        <a:pt x="326766" y="63365"/>
                      </a:lnTo>
                      <a:lnTo>
                        <a:pt x="319311" y="73305"/>
                      </a:lnTo>
                      <a:lnTo>
                        <a:pt x="354100" y="99397"/>
                      </a:lnTo>
                      <a:lnTo>
                        <a:pt x="298190" y="99397"/>
                      </a:lnTo>
                      <a:lnTo>
                        <a:pt x="298190" y="48555"/>
                      </a:lnTo>
                      <a:cubicBezTo>
                        <a:pt x="305402" y="45983"/>
                        <a:pt x="310614" y="39150"/>
                        <a:pt x="310614" y="31061"/>
                      </a:cubicBezTo>
                      <a:lnTo>
                        <a:pt x="310614" y="18637"/>
                      </a:lnTo>
                      <a:cubicBezTo>
                        <a:pt x="310614" y="8362"/>
                        <a:pt x="302252" y="0"/>
                        <a:pt x="291977" y="0"/>
                      </a:cubicBezTo>
                      <a:lnTo>
                        <a:pt x="18637" y="0"/>
                      </a:lnTo>
                      <a:cubicBezTo>
                        <a:pt x="8362" y="0"/>
                        <a:pt x="0" y="8362"/>
                        <a:pt x="0" y="18637"/>
                      </a:cubicBezTo>
                      <a:lnTo>
                        <a:pt x="0" y="31061"/>
                      </a:lnTo>
                      <a:cubicBezTo>
                        <a:pt x="0" y="39150"/>
                        <a:pt x="5212" y="45983"/>
                        <a:pt x="12425" y="48555"/>
                      </a:cubicBezTo>
                      <a:lnTo>
                        <a:pt x="12425" y="242279"/>
                      </a:lnTo>
                      <a:cubicBezTo>
                        <a:pt x="12425" y="252554"/>
                        <a:pt x="20786" y="260916"/>
                        <a:pt x="31061" y="260916"/>
                      </a:cubicBezTo>
                      <a:lnTo>
                        <a:pt x="149095" y="260916"/>
                      </a:lnTo>
                      <a:lnTo>
                        <a:pt x="149095" y="298687"/>
                      </a:lnTo>
                      <a:cubicBezTo>
                        <a:pt x="128054" y="301718"/>
                        <a:pt x="111821" y="319814"/>
                        <a:pt x="111821" y="341675"/>
                      </a:cubicBezTo>
                      <a:cubicBezTo>
                        <a:pt x="111821" y="365649"/>
                        <a:pt x="131328" y="385161"/>
                        <a:pt x="155307" y="385161"/>
                      </a:cubicBezTo>
                      <a:cubicBezTo>
                        <a:pt x="179286" y="385161"/>
                        <a:pt x="198793" y="365649"/>
                        <a:pt x="198793" y="341675"/>
                      </a:cubicBezTo>
                      <a:cubicBezTo>
                        <a:pt x="198793" y="319814"/>
                        <a:pt x="182560" y="301718"/>
                        <a:pt x="161519" y="298687"/>
                      </a:cubicBezTo>
                      <a:lnTo>
                        <a:pt x="161519" y="260916"/>
                      </a:lnTo>
                      <a:lnTo>
                        <a:pt x="204229" y="260916"/>
                      </a:lnTo>
                      <a:cubicBezTo>
                        <a:pt x="200775" y="270650"/>
                        <a:pt x="198793" y="281075"/>
                        <a:pt x="198793" y="291977"/>
                      </a:cubicBezTo>
                      <a:cubicBezTo>
                        <a:pt x="198793" y="343359"/>
                        <a:pt x="240595" y="385161"/>
                        <a:pt x="291977" y="385161"/>
                      </a:cubicBezTo>
                      <a:cubicBezTo>
                        <a:pt x="343359" y="385161"/>
                        <a:pt x="385161" y="343359"/>
                        <a:pt x="385161" y="291977"/>
                      </a:cubicBezTo>
                      <a:cubicBezTo>
                        <a:pt x="385161" y="242689"/>
                        <a:pt x="346676" y="202328"/>
                        <a:pt x="298190" y="199110"/>
                      </a:cubicBezTo>
                      <a:close/>
                      <a:moveTo>
                        <a:pt x="186368" y="341675"/>
                      </a:moveTo>
                      <a:cubicBezTo>
                        <a:pt x="186368" y="358803"/>
                        <a:pt x="172434" y="372737"/>
                        <a:pt x="155307" y="372737"/>
                      </a:cubicBezTo>
                      <a:cubicBezTo>
                        <a:pt x="138180" y="372737"/>
                        <a:pt x="124246" y="358803"/>
                        <a:pt x="124246" y="341675"/>
                      </a:cubicBezTo>
                      <a:cubicBezTo>
                        <a:pt x="124246" y="324548"/>
                        <a:pt x="138180" y="310614"/>
                        <a:pt x="155307" y="310614"/>
                      </a:cubicBezTo>
                      <a:cubicBezTo>
                        <a:pt x="172434" y="310614"/>
                        <a:pt x="186368" y="324548"/>
                        <a:pt x="186368" y="341675"/>
                      </a:cubicBezTo>
                      <a:close/>
                      <a:moveTo>
                        <a:pt x="285765" y="199110"/>
                      </a:moveTo>
                      <a:cubicBezTo>
                        <a:pt x="277099" y="199688"/>
                        <a:pt x="268774" y="201439"/>
                        <a:pt x="260916" y="204229"/>
                      </a:cubicBezTo>
                      <a:lnTo>
                        <a:pt x="260916" y="124047"/>
                      </a:lnTo>
                      <a:lnTo>
                        <a:pt x="275589" y="111821"/>
                      </a:lnTo>
                      <a:lnTo>
                        <a:pt x="285765" y="111821"/>
                      </a:lnTo>
                      <a:close/>
                      <a:moveTo>
                        <a:pt x="245690" y="211218"/>
                      </a:moveTo>
                      <a:lnTo>
                        <a:pt x="223642" y="211218"/>
                      </a:lnTo>
                      <a:lnTo>
                        <a:pt x="223642" y="155108"/>
                      </a:lnTo>
                      <a:lnTo>
                        <a:pt x="248491" y="134403"/>
                      </a:lnTo>
                      <a:lnTo>
                        <a:pt x="248491" y="209627"/>
                      </a:lnTo>
                      <a:cubicBezTo>
                        <a:pt x="247541" y="210130"/>
                        <a:pt x="246621" y="210683"/>
                        <a:pt x="245690" y="211218"/>
                      </a:cubicBezTo>
                      <a:close/>
                      <a:moveTo>
                        <a:pt x="52270" y="211218"/>
                      </a:moveTo>
                      <a:lnTo>
                        <a:pt x="99397" y="164091"/>
                      </a:lnTo>
                      <a:lnTo>
                        <a:pt x="99397" y="211218"/>
                      </a:lnTo>
                      <a:close/>
                      <a:moveTo>
                        <a:pt x="111821" y="151667"/>
                      </a:moveTo>
                      <a:lnTo>
                        <a:pt x="136670" y="126818"/>
                      </a:lnTo>
                      <a:lnTo>
                        <a:pt x="136670" y="211218"/>
                      </a:lnTo>
                      <a:lnTo>
                        <a:pt x="111821" y="211218"/>
                      </a:lnTo>
                      <a:close/>
                      <a:moveTo>
                        <a:pt x="149095" y="126818"/>
                      </a:moveTo>
                      <a:lnTo>
                        <a:pt x="173944" y="151667"/>
                      </a:lnTo>
                      <a:lnTo>
                        <a:pt x="173944" y="211218"/>
                      </a:lnTo>
                      <a:lnTo>
                        <a:pt x="149095" y="211218"/>
                      </a:lnTo>
                      <a:close/>
                      <a:moveTo>
                        <a:pt x="186368" y="164091"/>
                      </a:moveTo>
                      <a:lnTo>
                        <a:pt x="198408" y="176131"/>
                      </a:lnTo>
                      <a:lnTo>
                        <a:pt x="211218" y="165464"/>
                      </a:lnTo>
                      <a:lnTo>
                        <a:pt x="211218" y="211218"/>
                      </a:lnTo>
                      <a:lnTo>
                        <a:pt x="186368" y="211218"/>
                      </a:lnTo>
                      <a:close/>
                      <a:moveTo>
                        <a:pt x="12425" y="18637"/>
                      </a:moveTo>
                      <a:cubicBezTo>
                        <a:pt x="12425" y="15208"/>
                        <a:pt x="15214" y="12425"/>
                        <a:pt x="18637" y="12425"/>
                      </a:cubicBezTo>
                      <a:lnTo>
                        <a:pt x="291977" y="12425"/>
                      </a:lnTo>
                      <a:cubicBezTo>
                        <a:pt x="295400" y="12425"/>
                        <a:pt x="298190" y="15208"/>
                        <a:pt x="298190" y="18637"/>
                      </a:cubicBezTo>
                      <a:lnTo>
                        <a:pt x="298190" y="31061"/>
                      </a:lnTo>
                      <a:cubicBezTo>
                        <a:pt x="298190" y="34491"/>
                        <a:pt x="295400" y="37274"/>
                        <a:pt x="291977" y="37274"/>
                      </a:cubicBezTo>
                      <a:lnTo>
                        <a:pt x="18637" y="37274"/>
                      </a:lnTo>
                      <a:cubicBezTo>
                        <a:pt x="15214" y="37274"/>
                        <a:pt x="12425" y="34491"/>
                        <a:pt x="12425" y="31061"/>
                      </a:cubicBezTo>
                      <a:close/>
                      <a:moveTo>
                        <a:pt x="31061" y="248491"/>
                      </a:moveTo>
                      <a:cubicBezTo>
                        <a:pt x="27638" y="248491"/>
                        <a:pt x="24849" y="245708"/>
                        <a:pt x="24849" y="242279"/>
                      </a:cubicBezTo>
                      <a:lnTo>
                        <a:pt x="24849" y="49698"/>
                      </a:lnTo>
                      <a:lnTo>
                        <a:pt x="285765" y="49698"/>
                      </a:lnTo>
                      <a:lnTo>
                        <a:pt x="285765" y="99397"/>
                      </a:lnTo>
                      <a:lnTo>
                        <a:pt x="271092" y="99397"/>
                      </a:lnTo>
                      <a:lnTo>
                        <a:pt x="199172" y="159326"/>
                      </a:lnTo>
                      <a:lnTo>
                        <a:pt x="142882" y="103037"/>
                      </a:lnTo>
                      <a:lnTo>
                        <a:pt x="37274" y="208646"/>
                      </a:lnTo>
                      <a:lnTo>
                        <a:pt x="37274" y="223642"/>
                      </a:lnTo>
                      <a:lnTo>
                        <a:pt x="228836" y="223642"/>
                      </a:lnTo>
                      <a:cubicBezTo>
                        <a:pt x="221126" y="230774"/>
                        <a:pt x="214585" y="239136"/>
                        <a:pt x="209621" y="248491"/>
                      </a:cubicBezTo>
                      <a:close/>
                      <a:moveTo>
                        <a:pt x="291977" y="372737"/>
                      </a:moveTo>
                      <a:cubicBezTo>
                        <a:pt x="247448" y="372737"/>
                        <a:pt x="211218" y="336507"/>
                        <a:pt x="211218" y="291977"/>
                      </a:cubicBezTo>
                      <a:cubicBezTo>
                        <a:pt x="211218" y="247448"/>
                        <a:pt x="247448" y="211218"/>
                        <a:pt x="291977" y="211218"/>
                      </a:cubicBezTo>
                      <a:cubicBezTo>
                        <a:pt x="336507" y="211218"/>
                        <a:pt x="372737" y="247448"/>
                        <a:pt x="372737" y="291977"/>
                      </a:cubicBezTo>
                      <a:cubicBezTo>
                        <a:pt x="372737" y="336507"/>
                        <a:pt x="336507" y="372737"/>
                        <a:pt x="291977" y="372737"/>
                      </a:cubicBez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49" name="Freeform: Shape 48">
                  <a:extLst>
                    <a:ext uri="{FF2B5EF4-FFF2-40B4-BE49-F238E27FC236}">
                      <a16:creationId xmlns:a16="http://schemas.microsoft.com/office/drawing/2014/main" id="{354C0544-B584-FB64-2577-707C222689B2}"/>
                    </a:ext>
                  </a:extLst>
                </p:cNvPr>
                <p:cNvSpPr/>
                <p:nvPr/>
              </p:nvSpPr>
              <p:spPr>
                <a:xfrm>
                  <a:off x="4938093" y="1898103"/>
                  <a:ext cx="37273" cy="86971"/>
                </a:xfrm>
                <a:custGeom>
                  <a:avLst/>
                  <a:gdLst>
                    <a:gd name="connsiteX0" fmla="*/ 18637 w 37273"/>
                    <a:gd name="connsiteY0" fmla="*/ 24849 h 86971"/>
                    <a:gd name="connsiteX1" fmla="*/ 24849 w 37273"/>
                    <a:gd name="connsiteY1" fmla="*/ 31061 h 86971"/>
                    <a:gd name="connsiteX2" fmla="*/ 37274 w 37273"/>
                    <a:gd name="connsiteY2" fmla="*/ 31061 h 86971"/>
                    <a:gd name="connsiteX3" fmla="*/ 24849 w 37273"/>
                    <a:gd name="connsiteY3" fmla="*/ 13568 h 86971"/>
                    <a:gd name="connsiteX4" fmla="*/ 24849 w 37273"/>
                    <a:gd name="connsiteY4" fmla="*/ 0 h 86971"/>
                    <a:gd name="connsiteX5" fmla="*/ 12425 w 37273"/>
                    <a:gd name="connsiteY5" fmla="*/ 0 h 86971"/>
                    <a:gd name="connsiteX6" fmla="*/ 12425 w 37273"/>
                    <a:gd name="connsiteY6" fmla="*/ 12425 h 86971"/>
                    <a:gd name="connsiteX7" fmla="*/ 0 w 37273"/>
                    <a:gd name="connsiteY7" fmla="*/ 12425 h 86971"/>
                    <a:gd name="connsiteX8" fmla="*/ 0 w 37273"/>
                    <a:gd name="connsiteY8" fmla="*/ 31061 h 86971"/>
                    <a:gd name="connsiteX9" fmla="*/ 18637 w 37273"/>
                    <a:gd name="connsiteY9" fmla="*/ 49698 h 86971"/>
                    <a:gd name="connsiteX10" fmla="*/ 24849 w 37273"/>
                    <a:gd name="connsiteY10" fmla="*/ 55911 h 86971"/>
                    <a:gd name="connsiteX11" fmla="*/ 24849 w 37273"/>
                    <a:gd name="connsiteY11" fmla="*/ 62123 h 86971"/>
                    <a:gd name="connsiteX12" fmla="*/ 18637 w 37273"/>
                    <a:gd name="connsiteY12" fmla="*/ 62123 h 86971"/>
                    <a:gd name="connsiteX13" fmla="*/ 12425 w 37273"/>
                    <a:gd name="connsiteY13" fmla="*/ 55911 h 86971"/>
                    <a:gd name="connsiteX14" fmla="*/ 0 w 37273"/>
                    <a:gd name="connsiteY14" fmla="*/ 55911 h 86971"/>
                    <a:gd name="connsiteX15" fmla="*/ 12425 w 37273"/>
                    <a:gd name="connsiteY15" fmla="*/ 73404 h 86971"/>
                    <a:gd name="connsiteX16" fmla="*/ 12425 w 37273"/>
                    <a:gd name="connsiteY16" fmla="*/ 86972 h 86971"/>
                    <a:gd name="connsiteX17" fmla="*/ 24849 w 37273"/>
                    <a:gd name="connsiteY17" fmla="*/ 86972 h 86971"/>
                    <a:gd name="connsiteX18" fmla="*/ 24849 w 37273"/>
                    <a:gd name="connsiteY18" fmla="*/ 74547 h 86971"/>
                    <a:gd name="connsiteX19" fmla="*/ 37274 w 37273"/>
                    <a:gd name="connsiteY19" fmla="*/ 74547 h 86971"/>
                    <a:gd name="connsiteX20" fmla="*/ 37274 w 37273"/>
                    <a:gd name="connsiteY20" fmla="*/ 55911 h 86971"/>
                    <a:gd name="connsiteX21" fmla="*/ 18637 w 37273"/>
                    <a:gd name="connsiteY21" fmla="*/ 37274 h 86971"/>
                    <a:gd name="connsiteX22" fmla="*/ 12425 w 37273"/>
                    <a:gd name="connsiteY22" fmla="*/ 31061 h 86971"/>
                    <a:gd name="connsiteX23" fmla="*/ 12425 w 37273"/>
                    <a:gd name="connsiteY23" fmla="*/ 24849 h 8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273" h="86971">
                      <a:moveTo>
                        <a:pt x="18637" y="24849"/>
                      </a:moveTo>
                      <a:cubicBezTo>
                        <a:pt x="22060" y="24849"/>
                        <a:pt x="24849" y="27632"/>
                        <a:pt x="24849" y="31061"/>
                      </a:cubicBezTo>
                      <a:lnTo>
                        <a:pt x="37274" y="31061"/>
                      </a:lnTo>
                      <a:cubicBezTo>
                        <a:pt x="37274" y="22973"/>
                        <a:pt x="32062" y="16140"/>
                        <a:pt x="24849" y="13568"/>
                      </a:cubicBezTo>
                      <a:lnTo>
                        <a:pt x="24849" y="0"/>
                      </a:lnTo>
                      <a:lnTo>
                        <a:pt x="12425" y="0"/>
                      </a:lnTo>
                      <a:lnTo>
                        <a:pt x="12425" y="12425"/>
                      </a:lnTo>
                      <a:lnTo>
                        <a:pt x="0" y="12425"/>
                      </a:lnTo>
                      <a:lnTo>
                        <a:pt x="0" y="31061"/>
                      </a:lnTo>
                      <a:cubicBezTo>
                        <a:pt x="0" y="41337"/>
                        <a:pt x="8362" y="49698"/>
                        <a:pt x="18637" y="49698"/>
                      </a:cubicBezTo>
                      <a:cubicBezTo>
                        <a:pt x="22060" y="49698"/>
                        <a:pt x="24849" y="52481"/>
                        <a:pt x="24849" y="55911"/>
                      </a:cubicBezTo>
                      <a:lnTo>
                        <a:pt x="24849" y="62123"/>
                      </a:lnTo>
                      <a:lnTo>
                        <a:pt x="18637" y="62123"/>
                      </a:lnTo>
                      <a:cubicBezTo>
                        <a:pt x="15214" y="62123"/>
                        <a:pt x="12425" y="59340"/>
                        <a:pt x="12425" y="55911"/>
                      </a:cubicBezTo>
                      <a:lnTo>
                        <a:pt x="0" y="55911"/>
                      </a:lnTo>
                      <a:cubicBezTo>
                        <a:pt x="0" y="63999"/>
                        <a:pt x="5212" y="70832"/>
                        <a:pt x="12425" y="73404"/>
                      </a:cubicBezTo>
                      <a:lnTo>
                        <a:pt x="12425" y="86972"/>
                      </a:lnTo>
                      <a:lnTo>
                        <a:pt x="24849" y="86972"/>
                      </a:lnTo>
                      <a:lnTo>
                        <a:pt x="24849" y="74547"/>
                      </a:lnTo>
                      <a:lnTo>
                        <a:pt x="37274" y="74547"/>
                      </a:lnTo>
                      <a:lnTo>
                        <a:pt x="37274" y="55911"/>
                      </a:lnTo>
                      <a:cubicBezTo>
                        <a:pt x="37274" y="45635"/>
                        <a:pt x="28912" y="37274"/>
                        <a:pt x="18637" y="37274"/>
                      </a:cubicBezTo>
                      <a:cubicBezTo>
                        <a:pt x="15214" y="37274"/>
                        <a:pt x="12425" y="34491"/>
                        <a:pt x="12425" y="31061"/>
                      </a:cubicBezTo>
                      <a:lnTo>
                        <a:pt x="12425" y="24849"/>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0" name="Freeform: Shape 49">
                  <a:extLst>
                    <a:ext uri="{FF2B5EF4-FFF2-40B4-BE49-F238E27FC236}">
                      <a16:creationId xmlns:a16="http://schemas.microsoft.com/office/drawing/2014/main" id="{D2D4DCEA-B16E-9C29-32A1-DEC1A4171E82}"/>
                    </a:ext>
                  </a:extLst>
                </p:cNvPr>
                <p:cNvSpPr/>
                <p:nvPr/>
              </p:nvSpPr>
              <p:spPr>
                <a:xfrm>
                  <a:off x="4801423" y="1972650"/>
                  <a:ext cx="37273" cy="37273"/>
                </a:xfrm>
                <a:custGeom>
                  <a:avLst/>
                  <a:gdLst>
                    <a:gd name="connsiteX0" fmla="*/ 0 w 37273"/>
                    <a:gd name="connsiteY0" fmla="*/ 18637 h 37273"/>
                    <a:gd name="connsiteX1" fmla="*/ 18637 w 37273"/>
                    <a:gd name="connsiteY1" fmla="*/ 37274 h 37273"/>
                    <a:gd name="connsiteX2" fmla="*/ 37274 w 37273"/>
                    <a:gd name="connsiteY2" fmla="*/ 18637 h 37273"/>
                    <a:gd name="connsiteX3" fmla="*/ 18637 w 37273"/>
                    <a:gd name="connsiteY3" fmla="*/ 0 h 37273"/>
                    <a:gd name="connsiteX4" fmla="*/ 0 w 37273"/>
                    <a:gd name="connsiteY4" fmla="*/ 18637 h 37273"/>
                    <a:gd name="connsiteX5" fmla="*/ 24849 w 37273"/>
                    <a:gd name="connsiteY5" fmla="*/ 18637 h 37273"/>
                    <a:gd name="connsiteX6" fmla="*/ 18637 w 37273"/>
                    <a:gd name="connsiteY6" fmla="*/ 24849 h 37273"/>
                    <a:gd name="connsiteX7" fmla="*/ 12425 w 37273"/>
                    <a:gd name="connsiteY7" fmla="*/ 18637 h 37273"/>
                    <a:gd name="connsiteX8" fmla="*/ 18637 w 37273"/>
                    <a:gd name="connsiteY8" fmla="*/ 12425 h 37273"/>
                    <a:gd name="connsiteX9" fmla="*/ 24849 w 37273"/>
                    <a:gd name="connsiteY9" fmla="*/ 18637 h 3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73" h="37273">
                      <a:moveTo>
                        <a:pt x="0" y="18637"/>
                      </a:moveTo>
                      <a:cubicBezTo>
                        <a:pt x="0" y="28912"/>
                        <a:pt x="8362" y="37274"/>
                        <a:pt x="18637" y="37274"/>
                      </a:cubicBezTo>
                      <a:cubicBezTo>
                        <a:pt x="28912" y="37274"/>
                        <a:pt x="37274" y="28912"/>
                        <a:pt x="37274" y="18637"/>
                      </a:cubicBezTo>
                      <a:cubicBezTo>
                        <a:pt x="37274" y="8362"/>
                        <a:pt x="28912" y="0"/>
                        <a:pt x="18637" y="0"/>
                      </a:cubicBezTo>
                      <a:cubicBezTo>
                        <a:pt x="8362" y="0"/>
                        <a:pt x="0" y="8362"/>
                        <a:pt x="0" y="18637"/>
                      </a:cubicBezTo>
                      <a:close/>
                      <a:moveTo>
                        <a:pt x="24849" y="18637"/>
                      </a:moveTo>
                      <a:cubicBezTo>
                        <a:pt x="24849" y="22066"/>
                        <a:pt x="22060" y="24849"/>
                        <a:pt x="18637" y="24849"/>
                      </a:cubicBezTo>
                      <a:cubicBezTo>
                        <a:pt x="15214" y="24849"/>
                        <a:pt x="12425" y="22066"/>
                        <a:pt x="12425" y="18637"/>
                      </a:cubicBezTo>
                      <a:cubicBezTo>
                        <a:pt x="12425" y="15208"/>
                        <a:pt x="15214" y="12425"/>
                        <a:pt x="18637" y="12425"/>
                      </a:cubicBezTo>
                      <a:cubicBezTo>
                        <a:pt x="22060" y="12425"/>
                        <a:pt x="24849" y="15208"/>
                        <a:pt x="24849" y="18637"/>
                      </a:cubicBez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1" name="Freeform: Shape 50">
                  <a:extLst>
                    <a:ext uri="{FF2B5EF4-FFF2-40B4-BE49-F238E27FC236}">
                      <a16:creationId xmlns:a16="http://schemas.microsoft.com/office/drawing/2014/main" id="{42DBF44A-FB21-9295-CB79-331B7A769F5C}"/>
                    </a:ext>
                  </a:extLst>
                </p:cNvPr>
                <p:cNvSpPr/>
                <p:nvPr/>
              </p:nvSpPr>
              <p:spPr>
                <a:xfrm>
                  <a:off x="4702026" y="1711735"/>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2" name="Freeform: Shape 51">
                  <a:extLst>
                    <a:ext uri="{FF2B5EF4-FFF2-40B4-BE49-F238E27FC236}">
                      <a16:creationId xmlns:a16="http://schemas.microsoft.com/office/drawing/2014/main" id="{95727648-E2CA-DA79-1860-106DA51CBF16}"/>
                    </a:ext>
                  </a:extLst>
                </p:cNvPr>
                <p:cNvSpPr/>
                <p:nvPr/>
              </p:nvSpPr>
              <p:spPr>
                <a:xfrm>
                  <a:off x="4726876" y="1711735"/>
                  <a:ext cx="74547" cy="12424"/>
                </a:xfrm>
                <a:custGeom>
                  <a:avLst/>
                  <a:gdLst>
                    <a:gd name="connsiteX0" fmla="*/ 0 w 74547"/>
                    <a:gd name="connsiteY0" fmla="*/ 0 h 12424"/>
                    <a:gd name="connsiteX1" fmla="*/ 74547 w 74547"/>
                    <a:gd name="connsiteY1" fmla="*/ 0 h 12424"/>
                    <a:gd name="connsiteX2" fmla="*/ 74547 w 74547"/>
                    <a:gd name="connsiteY2" fmla="*/ 12425 h 12424"/>
                    <a:gd name="connsiteX3" fmla="*/ 0 w 74547"/>
                    <a:gd name="connsiteY3" fmla="*/ 12425 h 12424"/>
                  </a:gdLst>
                  <a:ahLst/>
                  <a:cxnLst>
                    <a:cxn ang="0">
                      <a:pos x="connsiteX0" y="connsiteY0"/>
                    </a:cxn>
                    <a:cxn ang="0">
                      <a:pos x="connsiteX1" y="connsiteY1"/>
                    </a:cxn>
                    <a:cxn ang="0">
                      <a:pos x="connsiteX2" y="connsiteY2"/>
                    </a:cxn>
                    <a:cxn ang="0">
                      <a:pos x="connsiteX3" y="connsiteY3"/>
                    </a:cxn>
                  </a:cxnLst>
                  <a:rect l="l" t="t" r="r" b="b"/>
                  <a:pathLst>
                    <a:path w="74547" h="12424">
                      <a:moveTo>
                        <a:pt x="0" y="0"/>
                      </a:moveTo>
                      <a:lnTo>
                        <a:pt x="74547" y="0"/>
                      </a:lnTo>
                      <a:lnTo>
                        <a:pt x="74547"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3" name="Freeform: Shape 52">
                  <a:extLst>
                    <a:ext uri="{FF2B5EF4-FFF2-40B4-BE49-F238E27FC236}">
                      <a16:creationId xmlns:a16="http://schemas.microsoft.com/office/drawing/2014/main" id="{5583C6F6-4339-B3A9-1F4D-2C846383A58E}"/>
                    </a:ext>
                  </a:extLst>
                </p:cNvPr>
                <p:cNvSpPr/>
                <p:nvPr/>
              </p:nvSpPr>
              <p:spPr>
                <a:xfrm>
                  <a:off x="4726876" y="1736584"/>
                  <a:ext cx="74547" cy="12424"/>
                </a:xfrm>
                <a:custGeom>
                  <a:avLst/>
                  <a:gdLst>
                    <a:gd name="connsiteX0" fmla="*/ 0 w 74547"/>
                    <a:gd name="connsiteY0" fmla="*/ 0 h 12424"/>
                    <a:gd name="connsiteX1" fmla="*/ 74547 w 74547"/>
                    <a:gd name="connsiteY1" fmla="*/ 0 h 12424"/>
                    <a:gd name="connsiteX2" fmla="*/ 74547 w 74547"/>
                    <a:gd name="connsiteY2" fmla="*/ 12425 h 12424"/>
                    <a:gd name="connsiteX3" fmla="*/ 0 w 74547"/>
                    <a:gd name="connsiteY3" fmla="*/ 12425 h 12424"/>
                  </a:gdLst>
                  <a:ahLst/>
                  <a:cxnLst>
                    <a:cxn ang="0">
                      <a:pos x="connsiteX0" y="connsiteY0"/>
                    </a:cxn>
                    <a:cxn ang="0">
                      <a:pos x="connsiteX1" y="connsiteY1"/>
                    </a:cxn>
                    <a:cxn ang="0">
                      <a:pos x="connsiteX2" y="connsiteY2"/>
                    </a:cxn>
                    <a:cxn ang="0">
                      <a:pos x="connsiteX3" y="connsiteY3"/>
                    </a:cxn>
                  </a:cxnLst>
                  <a:rect l="l" t="t" r="r" b="b"/>
                  <a:pathLst>
                    <a:path w="74547" h="12424">
                      <a:moveTo>
                        <a:pt x="0" y="0"/>
                      </a:moveTo>
                      <a:lnTo>
                        <a:pt x="74547" y="0"/>
                      </a:lnTo>
                      <a:lnTo>
                        <a:pt x="74547"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4" name="Freeform: Shape 53">
                  <a:extLst>
                    <a:ext uri="{FF2B5EF4-FFF2-40B4-BE49-F238E27FC236}">
                      <a16:creationId xmlns:a16="http://schemas.microsoft.com/office/drawing/2014/main" id="{F08121A6-2476-9499-5CE0-8A6AF052CA83}"/>
                    </a:ext>
                  </a:extLst>
                </p:cNvPr>
                <p:cNvSpPr/>
                <p:nvPr/>
              </p:nvSpPr>
              <p:spPr>
                <a:xfrm>
                  <a:off x="4702026" y="1736584"/>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5" name="Freeform: Shape 54">
                  <a:extLst>
                    <a:ext uri="{FF2B5EF4-FFF2-40B4-BE49-F238E27FC236}">
                      <a16:creationId xmlns:a16="http://schemas.microsoft.com/office/drawing/2014/main" id="{AD27F338-295B-9102-3E4C-547E696A2E4B}"/>
                    </a:ext>
                  </a:extLst>
                </p:cNvPr>
                <p:cNvSpPr/>
                <p:nvPr/>
              </p:nvSpPr>
              <p:spPr>
                <a:xfrm>
                  <a:off x="4702026"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6" name="Freeform: Shape 55">
                  <a:extLst>
                    <a:ext uri="{FF2B5EF4-FFF2-40B4-BE49-F238E27FC236}">
                      <a16:creationId xmlns:a16="http://schemas.microsoft.com/office/drawing/2014/main" id="{12B5BBAF-2686-C1B6-13C2-6C1FA25DE158}"/>
                    </a:ext>
                  </a:extLst>
                </p:cNvPr>
                <p:cNvSpPr/>
                <p:nvPr/>
              </p:nvSpPr>
              <p:spPr>
                <a:xfrm>
                  <a:off x="4726876"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7" name="Freeform: Shape 56">
                  <a:extLst>
                    <a:ext uri="{FF2B5EF4-FFF2-40B4-BE49-F238E27FC236}">
                      <a16:creationId xmlns:a16="http://schemas.microsoft.com/office/drawing/2014/main" id="{8EF3957D-417D-E710-FE82-FAF6F9FD0A4D}"/>
                    </a:ext>
                  </a:extLst>
                </p:cNvPr>
                <p:cNvSpPr/>
                <p:nvPr/>
              </p:nvSpPr>
              <p:spPr>
                <a:xfrm>
                  <a:off x="4751725" y="1761433"/>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8" name="Freeform: Shape 57">
                  <a:extLst>
                    <a:ext uri="{FF2B5EF4-FFF2-40B4-BE49-F238E27FC236}">
                      <a16:creationId xmlns:a16="http://schemas.microsoft.com/office/drawing/2014/main" id="{20626621-0E1C-DBC7-FD7E-0341842ABD68}"/>
                    </a:ext>
                  </a:extLst>
                </p:cNvPr>
                <p:cNvSpPr/>
                <p:nvPr/>
              </p:nvSpPr>
              <p:spPr>
                <a:xfrm>
                  <a:off x="4987791" y="1935377"/>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59" name="Freeform: Shape 58">
                  <a:extLst>
                    <a:ext uri="{FF2B5EF4-FFF2-40B4-BE49-F238E27FC236}">
                      <a16:creationId xmlns:a16="http://schemas.microsoft.com/office/drawing/2014/main" id="{438A4562-20B3-3FA7-B9A0-188A3A2214CD}"/>
                    </a:ext>
                  </a:extLst>
                </p:cNvPr>
                <p:cNvSpPr/>
                <p:nvPr/>
              </p:nvSpPr>
              <p:spPr>
                <a:xfrm>
                  <a:off x="4913244" y="1935377"/>
                  <a:ext cx="12424" cy="12424"/>
                </a:xfrm>
                <a:custGeom>
                  <a:avLst/>
                  <a:gdLst>
                    <a:gd name="connsiteX0" fmla="*/ 0 w 12424"/>
                    <a:gd name="connsiteY0" fmla="*/ 0 h 12424"/>
                    <a:gd name="connsiteX1" fmla="*/ 12425 w 12424"/>
                    <a:gd name="connsiteY1" fmla="*/ 0 h 12424"/>
                    <a:gd name="connsiteX2" fmla="*/ 12425 w 12424"/>
                    <a:gd name="connsiteY2" fmla="*/ 12425 h 12424"/>
                    <a:gd name="connsiteX3" fmla="*/ 0 w 12424"/>
                    <a:gd name="connsiteY3" fmla="*/ 12425 h 12424"/>
                  </a:gdLst>
                  <a:ahLst/>
                  <a:cxnLst>
                    <a:cxn ang="0">
                      <a:pos x="connsiteX0" y="connsiteY0"/>
                    </a:cxn>
                    <a:cxn ang="0">
                      <a:pos x="connsiteX1" y="connsiteY1"/>
                    </a:cxn>
                    <a:cxn ang="0">
                      <a:pos x="connsiteX2" y="connsiteY2"/>
                    </a:cxn>
                    <a:cxn ang="0">
                      <a:pos x="connsiteX3" y="connsiteY3"/>
                    </a:cxn>
                  </a:cxnLst>
                  <a:rect l="l" t="t" r="r" b="b"/>
                  <a:pathLst>
                    <a:path w="12424" h="12424">
                      <a:moveTo>
                        <a:pt x="0" y="0"/>
                      </a:moveTo>
                      <a:lnTo>
                        <a:pt x="12425" y="0"/>
                      </a:lnTo>
                      <a:lnTo>
                        <a:pt x="12425" y="12425"/>
                      </a:lnTo>
                      <a:lnTo>
                        <a:pt x="0" y="12425"/>
                      </a:ln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60" name="Freeform: Shape 59">
                  <a:extLst>
                    <a:ext uri="{FF2B5EF4-FFF2-40B4-BE49-F238E27FC236}">
                      <a16:creationId xmlns:a16="http://schemas.microsoft.com/office/drawing/2014/main" id="{7C934F94-74D2-6E3D-DA0B-15E37F550976}"/>
                    </a:ext>
                  </a:extLst>
                </p:cNvPr>
                <p:cNvSpPr/>
                <p:nvPr/>
              </p:nvSpPr>
              <p:spPr>
                <a:xfrm>
                  <a:off x="4888395" y="1873254"/>
                  <a:ext cx="111634" cy="111628"/>
                </a:xfrm>
                <a:custGeom>
                  <a:avLst/>
                  <a:gdLst>
                    <a:gd name="connsiteX0" fmla="*/ 12425 w 111634"/>
                    <a:gd name="connsiteY0" fmla="*/ 68335 h 111628"/>
                    <a:gd name="connsiteX1" fmla="*/ 68335 w 111634"/>
                    <a:gd name="connsiteY1" fmla="*/ 12425 h 111628"/>
                    <a:gd name="connsiteX2" fmla="*/ 103751 w 111634"/>
                    <a:gd name="connsiteY2" fmla="*/ 25085 h 111628"/>
                    <a:gd name="connsiteX3" fmla="*/ 111635 w 111634"/>
                    <a:gd name="connsiteY3" fmla="*/ 15475 h 111628"/>
                    <a:gd name="connsiteX4" fmla="*/ 68335 w 111634"/>
                    <a:gd name="connsiteY4" fmla="*/ 0 h 111628"/>
                    <a:gd name="connsiteX5" fmla="*/ 0 w 111634"/>
                    <a:gd name="connsiteY5" fmla="*/ 68335 h 111628"/>
                    <a:gd name="connsiteX6" fmla="*/ 15475 w 111634"/>
                    <a:gd name="connsiteY6" fmla="*/ 111628 h 111628"/>
                    <a:gd name="connsiteX7" fmla="*/ 25085 w 111634"/>
                    <a:gd name="connsiteY7" fmla="*/ 103751 h 111628"/>
                    <a:gd name="connsiteX8" fmla="*/ 12425 w 111634"/>
                    <a:gd name="connsiteY8" fmla="*/ 68335 h 11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34" h="111628">
                      <a:moveTo>
                        <a:pt x="12425" y="68335"/>
                      </a:moveTo>
                      <a:cubicBezTo>
                        <a:pt x="12425" y="37504"/>
                        <a:pt x="37510" y="12425"/>
                        <a:pt x="68335" y="12425"/>
                      </a:cubicBezTo>
                      <a:cubicBezTo>
                        <a:pt x="81219" y="12425"/>
                        <a:pt x="93799" y="16922"/>
                        <a:pt x="103751" y="25085"/>
                      </a:cubicBezTo>
                      <a:lnTo>
                        <a:pt x="111635" y="15475"/>
                      </a:lnTo>
                      <a:cubicBezTo>
                        <a:pt x="99465" y="5498"/>
                        <a:pt x="84089" y="0"/>
                        <a:pt x="68335" y="0"/>
                      </a:cubicBezTo>
                      <a:cubicBezTo>
                        <a:pt x="30658" y="0"/>
                        <a:pt x="0" y="30658"/>
                        <a:pt x="0" y="68335"/>
                      </a:cubicBezTo>
                      <a:cubicBezTo>
                        <a:pt x="0" y="84083"/>
                        <a:pt x="5498" y="99459"/>
                        <a:pt x="15475" y="111628"/>
                      </a:cubicBezTo>
                      <a:lnTo>
                        <a:pt x="25085" y="103751"/>
                      </a:lnTo>
                      <a:cubicBezTo>
                        <a:pt x="16922" y="93799"/>
                        <a:pt x="12425" y="81219"/>
                        <a:pt x="12425" y="68335"/>
                      </a:cubicBez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61" name="Freeform: Shape 60">
                  <a:extLst>
                    <a:ext uri="{FF2B5EF4-FFF2-40B4-BE49-F238E27FC236}">
                      <a16:creationId xmlns:a16="http://schemas.microsoft.com/office/drawing/2014/main" id="{8625FEB0-8A35-4287-DC37-2D4B1B4D88AE}"/>
                    </a:ext>
                  </a:extLst>
                </p:cNvPr>
                <p:cNvSpPr/>
                <p:nvPr/>
              </p:nvSpPr>
              <p:spPr>
                <a:xfrm>
                  <a:off x="4913430" y="1898296"/>
                  <a:ext cx="111634" cy="111628"/>
                </a:xfrm>
                <a:custGeom>
                  <a:avLst/>
                  <a:gdLst>
                    <a:gd name="connsiteX0" fmla="*/ 96160 w 111634"/>
                    <a:gd name="connsiteY0" fmla="*/ 0 h 111628"/>
                    <a:gd name="connsiteX1" fmla="*/ 86550 w 111634"/>
                    <a:gd name="connsiteY1" fmla="*/ 7877 h 111628"/>
                    <a:gd name="connsiteX2" fmla="*/ 99210 w 111634"/>
                    <a:gd name="connsiteY2" fmla="*/ 43293 h 111628"/>
                    <a:gd name="connsiteX3" fmla="*/ 43300 w 111634"/>
                    <a:gd name="connsiteY3" fmla="*/ 99204 h 111628"/>
                    <a:gd name="connsiteX4" fmla="*/ 7883 w 111634"/>
                    <a:gd name="connsiteY4" fmla="*/ 86543 h 111628"/>
                    <a:gd name="connsiteX5" fmla="*/ 0 w 111634"/>
                    <a:gd name="connsiteY5" fmla="*/ 96154 h 111628"/>
                    <a:gd name="connsiteX6" fmla="*/ 43300 w 111634"/>
                    <a:gd name="connsiteY6" fmla="*/ 111628 h 111628"/>
                    <a:gd name="connsiteX7" fmla="*/ 111635 w 111634"/>
                    <a:gd name="connsiteY7" fmla="*/ 43293 h 111628"/>
                    <a:gd name="connsiteX8" fmla="*/ 96160 w 111634"/>
                    <a:gd name="connsiteY8" fmla="*/ 0 h 11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634" h="111628">
                      <a:moveTo>
                        <a:pt x="96160" y="0"/>
                      </a:moveTo>
                      <a:lnTo>
                        <a:pt x="86550" y="7877"/>
                      </a:lnTo>
                      <a:cubicBezTo>
                        <a:pt x="94712" y="17829"/>
                        <a:pt x="99210" y="30409"/>
                        <a:pt x="99210" y="43293"/>
                      </a:cubicBezTo>
                      <a:cubicBezTo>
                        <a:pt x="99210" y="74125"/>
                        <a:pt x="74125" y="99204"/>
                        <a:pt x="43300" y="99204"/>
                      </a:cubicBezTo>
                      <a:cubicBezTo>
                        <a:pt x="30415" y="99204"/>
                        <a:pt x="17835" y="94706"/>
                        <a:pt x="7883" y="86543"/>
                      </a:cubicBezTo>
                      <a:lnTo>
                        <a:pt x="0" y="96154"/>
                      </a:lnTo>
                      <a:cubicBezTo>
                        <a:pt x="12170" y="106131"/>
                        <a:pt x="27545" y="111628"/>
                        <a:pt x="43300" y="111628"/>
                      </a:cubicBezTo>
                      <a:cubicBezTo>
                        <a:pt x="80977" y="111628"/>
                        <a:pt x="111635" y="80971"/>
                        <a:pt x="111635" y="43293"/>
                      </a:cubicBezTo>
                      <a:cubicBezTo>
                        <a:pt x="111635" y="27545"/>
                        <a:pt x="106137" y="12170"/>
                        <a:pt x="96160" y="0"/>
                      </a:cubicBezTo>
                      <a:close/>
                    </a:path>
                  </a:pathLst>
                </a:custGeom>
                <a:grpFill/>
                <a:ln w="61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grpSp>
        <p:nvGrpSpPr>
          <p:cNvPr id="62" name="Group 61">
            <a:extLst>
              <a:ext uri="{FF2B5EF4-FFF2-40B4-BE49-F238E27FC236}">
                <a16:creationId xmlns:a16="http://schemas.microsoft.com/office/drawing/2014/main" id="{AABA83E2-3AD6-D2CF-A77F-05A3FE30BB53}"/>
              </a:ext>
            </a:extLst>
          </p:cNvPr>
          <p:cNvGrpSpPr/>
          <p:nvPr/>
        </p:nvGrpSpPr>
        <p:grpSpPr>
          <a:xfrm>
            <a:off x="4951224" y="960258"/>
            <a:ext cx="2289553" cy="5263600"/>
            <a:chOff x="4951224" y="960258"/>
            <a:chExt cx="2289553" cy="5263600"/>
          </a:xfrm>
        </p:grpSpPr>
        <p:sp>
          <p:nvSpPr>
            <p:cNvPr id="63" name="TextBox 62">
              <a:extLst>
                <a:ext uri="{FF2B5EF4-FFF2-40B4-BE49-F238E27FC236}">
                  <a16:creationId xmlns:a16="http://schemas.microsoft.com/office/drawing/2014/main" id="{8B00C5A1-43D9-84E3-D42F-FF6732508B7C}"/>
                </a:ext>
              </a:extLst>
            </p:cNvPr>
            <p:cNvSpPr txBox="1">
              <a:spLocks/>
            </p:cNvSpPr>
            <p:nvPr/>
          </p:nvSpPr>
          <p:spPr>
            <a:xfrm>
              <a:off x="4951224" y="1542672"/>
              <a:ext cx="2289553" cy="1101838"/>
            </a:xfrm>
            <a:prstGeom prst="rect">
              <a:avLst/>
            </a:prstGeom>
            <a:solidFill>
              <a:srgbClr val="00146D"/>
            </a:solidFill>
            <a:ln w="25400">
              <a:noFill/>
            </a:ln>
          </p:spPr>
          <p:txBody>
            <a:bodyPr wrap="square" lIns="76200" tIns="76200" rIns="76200" bIns="76200" anchor="ctr">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Making</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 trade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an</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 engine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of</a:t>
              </a: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 sustainable resource use</a:t>
              </a:r>
            </a:p>
          </p:txBody>
        </p:sp>
        <p:sp>
          <p:nvSpPr>
            <p:cNvPr id="64" name="TextBox 63">
              <a:extLst>
                <a:ext uri="{FF2B5EF4-FFF2-40B4-BE49-F238E27FC236}">
                  <a16:creationId xmlns:a16="http://schemas.microsoft.com/office/drawing/2014/main" id="{C9BDDCE5-BFC6-7477-2AF7-A1681BF87628}"/>
                </a:ext>
              </a:extLst>
            </p:cNvPr>
            <p:cNvSpPr txBox="1">
              <a:spLocks/>
            </p:cNvSpPr>
            <p:nvPr/>
          </p:nvSpPr>
          <p:spPr>
            <a:xfrm>
              <a:off x="4951224" y="2668520"/>
              <a:ext cx="2289553" cy="3555338"/>
            </a:xfrm>
            <a:prstGeom prst="rect">
              <a:avLst/>
            </a:prstGeom>
            <a:solidFill>
              <a:srgbClr val="FFFFFF">
                <a:lumMod val="95000"/>
              </a:srgbClr>
            </a:solidFill>
          </p:spPr>
          <p:txBody>
            <a:bodyPr wrap="square">
              <a:noAutofit/>
            </a:bodyPr>
            <a:lstStyle/>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Trade governance for fairness and sustainable resource use</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Enabling local resource value retention in producer countries</a:t>
              </a:r>
            </a:p>
          </p:txBody>
        </p:sp>
        <p:grpSp>
          <p:nvGrpSpPr>
            <p:cNvPr id="65" name="Group 64">
              <a:extLst>
                <a:ext uri="{FF2B5EF4-FFF2-40B4-BE49-F238E27FC236}">
                  <a16:creationId xmlns:a16="http://schemas.microsoft.com/office/drawing/2014/main" id="{2B7A26EE-4B23-8FCD-9707-7A59DDF8970C}"/>
                </a:ext>
              </a:extLst>
            </p:cNvPr>
            <p:cNvGrpSpPr/>
            <p:nvPr/>
          </p:nvGrpSpPr>
          <p:grpSpPr>
            <a:xfrm>
              <a:off x="5772935" y="960258"/>
              <a:ext cx="646130" cy="646128"/>
              <a:chOff x="5803264" y="1177926"/>
              <a:chExt cx="646130" cy="646128"/>
            </a:xfrm>
          </p:grpSpPr>
          <p:sp>
            <p:nvSpPr>
              <p:cNvPr id="66" name="Oval 65">
                <a:extLst>
                  <a:ext uri="{FF2B5EF4-FFF2-40B4-BE49-F238E27FC236}">
                    <a16:creationId xmlns:a16="http://schemas.microsoft.com/office/drawing/2014/main" id="{E77CEFFF-8B35-D722-FD85-68CBDB497AEF}"/>
                  </a:ext>
                </a:extLst>
              </p:cNvPr>
              <p:cNvSpPr/>
              <p:nvPr/>
            </p:nvSpPr>
            <p:spPr>
              <a:xfrm>
                <a:off x="5803264" y="1177926"/>
                <a:ext cx="646130" cy="646128"/>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1" i="1" u="none" strike="noStrike" kern="0" cap="none" spc="0" normalizeH="0" baseline="0" noProof="0" dirty="0">
                  <a:ln>
                    <a:noFill/>
                  </a:ln>
                  <a:solidFill>
                    <a:srgbClr val="000000"/>
                  </a:solidFill>
                  <a:effectLst/>
                  <a:uLnTx/>
                  <a:uFillTx/>
                  <a:latin typeface="Century Gothic" panose="020B0502020202020204" pitchFamily="34" charset="0"/>
                  <a:sym typeface="Arial"/>
                </a:endParaRPr>
              </a:p>
            </p:txBody>
          </p:sp>
          <p:grpSp>
            <p:nvGrpSpPr>
              <p:cNvPr id="67" name="Graphic 29">
                <a:extLst>
                  <a:ext uri="{FF2B5EF4-FFF2-40B4-BE49-F238E27FC236}">
                    <a16:creationId xmlns:a16="http://schemas.microsoft.com/office/drawing/2014/main" id="{CAD68783-0747-5F04-BC23-5E68676658C3}"/>
                  </a:ext>
                </a:extLst>
              </p:cNvPr>
              <p:cNvGrpSpPr/>
              <p:nvPr/>
            </p:nvGrpSpPr>
            <p:grpSpPr>
              <a:xfrm>
                <a:off x="5920655" y="1295316"/>
                <a:ext cx="411348" cy="411348"/>
                <a:chOff x="6713322" y="1627026"/>
                <a:chExt cx="413452" cy="413452"/>
              </a:xfrm>
              <a:solidFill>
                <a:srgbClr val="00146D"/>
              </a:solidFill>
            </p:grpSpPr>
            <p:sp>
              <p:nvSpPr>
                <p:cNvPr id="68" name="Freeform: Shape 67">
                  <a:extLst>
                    <a:ext uri="{FF2B5EF4-FFF2-40B4-BE49-F238E27FC236}">
                      <a16:creationId xmlns:a16="http://schemas.microsoft.com/office/drawing/2014/main" id="{3373D8B1-3732-46CE-E26E-5C0132DDFA5E}"/>
                    </a:ext>
                  </a:extLst>
                </p:cNvPr>
                <p:cNvSpPr/>
                <p:nvPr/>
              </p:nvSpPr>
              <p:spPr>
                <a:xfrm>
                  <a:off x="6758503" y="1653571"/>
                  <a:ext cx="39218" cy="76486"/>
                </a:xfrm>
                <a:custGeom>
                  <a:avLst/>
                  <a:gdLst>
                    <a:gd name="connsiteX0" fmla="*/ 19250 w 39218"/>
                    <a:gd name="connsiteY0" fmla="*/ 57058 h 76486"/>
                    <a:gd name="connsiteX1" fmla="*/ 9374 w 39218"/>
                    <a:gd name="connsiteY1" fmla="*/ 54484 h 76486"/>
                    <a:gd name="connsiteX2" fmla="*/ 989 w 39218"/>
                    <a:gd name="connsiteY2" fmla="*/ 56236 h 76486"/>
                    <a:gd name="connsiteX3" fmla="*/ 2741 w 39218"/>
                    <a:gd name="connsiteY3" fmla="*/ 64620 h 76486"/>
                    <a:gd name="connsiteX4" fmla="*/ 13234 w 39218"/>
                    <a:gd name="connsiteY4" fmla="*/ 68870 h 76486"/>
                    <a:gd name="connsiteX5" fmla="*/ 13234 w 39218"/>
                    <a:gd name="connsiteY5" fmla="*/ 70430 h 76486"/>
                    <a:gd name="connsiteX6" fmla="*/ 19291 w 39218"/>
                    <a:gd name="connsiteY6" fmla="*/ 76486 h 76486"/>
                    <a:gd name="connsiteX7" fmla="*/ 25347 w 39218"/>
                    <a:gd name="connsiteY7" fmla="*/ 70430 h 76486"/>
                    <a:gd name="connsiteX8" fmla="*/ 25347 w 39218"/>
                    <a:gd name="connsiteY8" fmla="*/ 68236 h 76486"/>
                    <a:gd name="connsiteX9" fmla="*/ 38946 w 39218"/>
                    <a:gd name="connsiteY9" fmla="*/ 52479 h 76486"/>
                    <a:gd name="connsiteX10" fmla="*/ 26807 w 39218"/>
                    <a:gd name="connsiteY10" fmla="*/ 32244 h 76486"/>
                    <a:gd name="connsiteX11" fmla="*/ 14335 w 39218"/>
                    <a:gd name="connsiteY11" fmla="*/ 26469 h 76486"/>
                    <a:gd name="connsiteX12" fmla="*/ 12724 w 39218"/>
                    <a:gd name="connsiteY12" fmla="*/ 21996 h 76486"/>
                    <a:gd name="connsiteX13" fmla="*/ 16108 w 39218"/>
                    <a:gd name="connsiteY13" fmla="*/ 18521 h 76486"/>
                    <a:gd name="connsiteX14" fmla="*/ 25491 w 39218"/>
                    <a:gd name="connsiteY14" fmla="*/ 20636 h 76486"/>
                    <a:gd name="connsiteX15" fmla="*/ 34009 w 39218"/>
                    <a:gd name="connsiteY15" fmla="*/ 20279 h 76486"/>
                    <a:gd name="connsiteX16" fmla="*/ 33690 w 39218"/>
                    <a:gd name="connsiteY16" fmla="*/ 11720 h 76486"/>
                    <a:gd name="connsiteX17" fmla="*/ 25347 w 39218"/>
                    <a:gd name="connsiteY17" fmla="*/ 6981 h 76486"/>
                    <a:gd name="connsiteX18" fmla="*/ 25347 w 39218"/>
                    <a:gd name="connsiteY18" fmla="*/ 6056 h 76486"/>
                    <a:gd name="connsiteX19" fmla="*/ 19291 w 39218"/>
                    <a:gd name="connsiteY19" fmla="*/ 0 h 76486"/>
                    <a:gd name="connsiteX20" fmla="*/ 13234 w 39218"/>
                    <a:gd name="connsiteY20" fmla="*/ 6056 h 76486"/>
                    <a:gd name="connsiteX21" fmla="*/ 13234 w 39218"/>
                    <a:gd name="connsiteY21" fmla="*/ 6730 h 76486"/>
                    <a:gd name="connsiteX22" fmla="*/ 12010 w 39218"/>
                    <a:gd name="connsiteY22" fmla="*/ 7122 h 76486"/>
                    <a:gd name="connsiteX23" fmla="*/ 765 w 39218"/>
                    <a:gd name="connsiteY23" fmla="*/ 20067 h 76486"/>
                    <a:gd name="connsiteX24" fmla="*/ 6859 w 39218"/>
                    <a:gd name="connsiteY24" fmla="*/ 36000 h 76486"/>
                    <a:gd name="connsiteX25" fmla="*/ 22769 w 39218"/>
                    <a:gd name="connsiteY25" fmla="*/ 43664 h 76486"/>
                    <a:gd name="connsiteX26" fmla="*/ 26999 w 39218"/>
                    <a:gd name="connsiteY26" fmla="*/ 50471 h 76486"/>
                    <a:gd name="connsiteX27" fmla="*/ 19250 w 39218"/>
                    <a:gd name="connsiteY27" fmla="*/ 57058 h 76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218" h="76486">
                      <a:moveTo>
                        <a:pt x="19250" y="57058"/>
                      </a:moveTo>
                      <a:cubicBezTo>
                        <a:pt x="14411" y="57092"/>
                        <a:pt x="13023" y="56873"/>
                        <a:pt x="9374" y="54484"/>
                      </a:cubicBezTo>
                      <a:cubicBezTo>
                        <a:pt x="6575" y="52652"/>
                        <a:pt x="2821" y="53437"/>
                        <a:pt x="989" y="56236"/>
                      </a:cubicBezTo>
                      <a:cubicBezTo>
                        <a:pt x="-842" y="59035"/>
                        <a:pt x="-58" y="62788"/>
                        <a:pt x="2741" y="64620"/>
                      </a:cubicBezTo>
                      <a:cubicBezTo>
                        <a:pt x="6731" y="67230"/>
                        <a:pt x="9736" y="68392"/>
                        <a:pt x="13234" y="68870"/>
                      </a:cubicBezTo>
                      <a:lnTo>
                        <a:pt x="13234" y="70430"/>
                      </a:lnTo>
                      <a:cubicBezTo>
                        <a:pt x="13234" y="73775"/>
                        <a:pt x="15945" y="76486"/>
                        <a:pt x="19291" y="76486"/>
                      </a:cubicBezTo>
                      <a:cubicBezTo>
                        <a:pt x="22636" y="76486"/>
                        <a:pt x="25347" y="73775"/>
                        <a:pt x="25347" y="70430"/>
                      </a:cubicBezTo>
                      <a:lnTo>
                        <a:pt x="25347" y="68236"/>
                      </a:lnTo>
                      <a:cubicBezTo>
                        <a:pt x="32961" y="65824"/>
                        <a:pt x="37831" y="59109"/>
                        <a:pt x="38946" y="52479"/>
                      </a:cubicBezTo>
                      <a:cubicBezTo>
                        <a:pt x="40459" y="43478"/>
                        <a:pt x="35581" y="35345"/>
                        <a:pt x="26807" y="32244"/>
                      </a:cubicBezTo>
                      <a:cubicBezTo>
                        <a:pt x="22208" y="30618"/>
                        <a:pt x="17129" y="28660"/>
                        <a:pt x="14335" y="26469"/>
                      </a:cubicBezTo>
                      <a:cubicBezTo>
                        <a:pt x="13154" y="25544"/>
                        <a:pt x="12462" y="23620"/>
                        <a:pt x="12724" y="21996"/>
                      </a:cubicBezTo>
                      <a:cubicBezTo>
                        <a:pt x="12984" y="20383"/>
                        <a:pt x="14091" y="19246"/>
                        <a:pt x="16108" y="18521"/>
                      </a:cubicBezTo>
                      <a:cubicBezTo>
                        <a:pt x="20978" y="16770"/>
                        <a:pt x="25230" y="20407"/>
                        <a:pt x="25491" y="20636"/>
                      </a:cubicBezTo>
                      <a:cubicBezTo>
                        <a:pt x="27947" y="22872"/>
                        <a:pt x="31747" y="22716"/>
                        <a:pt x="34009" y="20279"/>
                      </a:cubicBezTo>
                      <a:cubicBezTo>
                        <a:pt x="36283" y="17828"/>
                        <a:pt x="36142" y="13996"/>
                        <a:pt x="33690" y="11720"/>
                      </a:cubicBezTo>
                      <a:cubicBezTo>
                        <a:pt x="31946" y="10101"/>
                        <a:pt x="29005" y="8154"/>
                        <a:pt x="25347" y="6981"/>
                      </a:cubicBezTo>
                      <a:lnTo>
                        <a:pt x="25347" y="6056"/>
                      </a:lnTo>
                      <a:cubicBezTo>
                        <a:pt x="25347" y="2712"/>
                        <a:pt x="22636" y="0"/>
                        <a:pt x="19291" y="0"/>
                      </a:cubicBezTo>
                      <a:cubicBezTo>
                        <a:pt x="15945" y="0"/>
                        <a:pt x="13234" y="2712"/>
                        <a:pt x="13234" y="6056"/>
                      </a:cubicBezTo>
                      <a:lnTo>
                        <a:pt x="13234" y="6730"/>
                      </a:lnTo>
                      <a:cubicBezTo>
                        <a:pt x="12828" y="6848"/>
                        <a:pt x="12420" y="6975"/>
                        <a:pt x="12010" y="7122"/>
                      </a:cubicBezTo>
                      <a:cubicBezTo>
                        <a:pt x="5833" y="9343"/>
                        <a:pt x="1734" y="14061"/>
                        <a:pt x="765" y="20067"/>
                      </a:cubicBezTo>
                      <a:cubicBezTo>
                        <a:pt x="-206" y="26081"/>
                        <a:pt x="2187" y="32336"/>
                        <a:pt x="6859" y="36000"/>
                      </a:cubicBezTo>
                      <a:cubicBezTo>
                        <a:pt x="11019" y="39263"/>
                        <a:pt x="16965" y="41612"/>
                        <a:pt x="22769" y="43664"/>
                      </a:cubicBezTo>
                      <a:cubicBezTo>
                        <a:pt x="27183" y="45225"/>
                        <a:pt x="27314" y="48598"/>
                        <a:pt x="26999" y="50471"/>
                      </a:cubicBezTo>
                      <a:cubicBezTo>
                        <a:pt x="26470" y="53623"/>
                        <a:pt x="23819" y="57028"/>
                        <a:pt x="19250" y="57058"/>
                      </a:cubicBezTo>
                      <a:close/>
                    </a:path>
                  </a:pathLst>
                </a:custGeom>
                <a:grpFill/>
                <a:ln w="8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69" name="Freeform: Shape 68">
                  <a:extLst>
                    <a:ext uri="{FF2B5EF4-FFF2-40B4-BE49-F238E27FC236}">
                      <a16:creationId xmlns:a16="http://schemas.microsoft.com/office/drawing/2014/main" id="{EE155C89-9490-6696-3656-EABC013DE21A}"/>
                    </a:ext>
                  </a:extLst>
                </p:cNvPr>
                <p:cNvSpPr/>
                <p:nvPr/>
              </p:nvSpPr>
              <p:spPr>
                <a:xfrm>
                  <a:off x="7042375" y="1937446"/>
                  <a:ext cx="39219" cy="76485"/>
                </a:xfrm>
                <a:custGeom>
                  <a:avLst/>
                  <a:gdLst>
                    <a:gd name="connsiteX0" fmla="*/ 19292 w 39219"/>
                    <a:gd name="connsiteY0" fmla="*/ 76485 h 76485"/>
                    <a:gd name="connsiteX1" fmla="*/ 25348 w 39219"/>
                    <a:gd name="connsiteY1" fmla="*/ 70429 h 76485"/>
                    <a:gd name="connsiteX2" fmla="*/ 25348 w 39219"/>
                    <a:gd name="connsiteY2" fmla="*/ 68235 h 76485"/>
                    <a:gd name="connsiteX3" fmla="*/ 38947 w 39219"/>
                    <a:gd name="connsiteY3" fmla="*/ 52479 h 76485"/>
                    <a:gd name="connsiteX4" fmla="*/ 26808 w 39219"/>
                    <a:gd name="connsiteY4" fmla="*/ 32244 h 76485"/>
                    <a:gd name="connsiteX5" fmla="*/ 14336 w 39219"/>
                    <a:gd name="connsiteY5" fmla="*/ 26469 h 76485"/>
                    <a:gd name="connsiteX6" fmla="*/ 12725 w 39219"/>
                    <a:gd name="connsiteY6" fmla="*/ 21997 h 76485"/>
                    <a:gd name="connsiteX7" fmla="*/ 16110 w 39219"/>
                    <a:gd name="connsiteY7" fmla="*/ 18521 h 76485"/>
                    <a:gd name="connsiteX8" fmla="*/ 25492 w 39219"/>
                    <a:gd name="connsiteY8" fmla="*/ 20636 h 76485"/>
                    <a:gd name="connsiteX9" fmla="*/ 34010 w 39219"/>
                    <a:gd name="connsiteY9" fmla="*/ 20279 h 76485"/>
                    <a:gd name="connsiteX10" fmla="*/ 33691 w 39219"/>
                    <a:gd name="connsiteY10" fmla="*/ 11720 h 76485"/>
                    <a:gd name="connsiteX11" fmla="*/ 25348 w 39219"/>
                    <a:gd name="connsiteY11" fmla="*/ 6981 h 76485"/>
                    <a:gd name="connsiteX12" fmla="*/ 25348 w 39219"/>
                    <a:gd name="connsiteY12" fmla="*/ 6056 h 76485"/>
                    <a:gd name="connsiteX13" fmla="*/ 19292 w 39219"/>
                    <a:gd name="connsiteY13" fmla="*/ 0 h 76485"/>
                    <a:gd name="connsiteX14" fmla="*/ 13235 w 39219"/>
                    <a:gd name="connsiteY14" fmla="*/ 6056 h 76485"/>
                    <a:gd name="connsiteX15" fmla="*/ 13235 w 39219"/>
                    <a:gd name="connsiteY15" fmla="*/ 6730 h 76485"/>
                    <a:gd name="connsiteX16" fmla="*/ 12012 w 39219"/>
                    <a:gd name="connsiteY16" fmla="*/ 7122 h 76485"/>
                    <a:gd name="connsiteX17" fmla="*/ 765 w 39219"/>
                    <a:gd name="connsiteY17" fmla="*/ 20068 h 76485"/>
                    <a:gd name="connsiteX18" fmla="*/ 6860 w 39219"/>
                    <a:gd name="connsiteY18" fmla="*/ 36001 h 76485"/>
                    <a:gd name="connsiteX19" fmla="*/ 22770 w 39219"/>
                    <a:gd name="connsiteY19" fmla="*/ 43665 h 76485"/>
                    <a:gd name="connsiteX20" fmla="*/ 27001 w 39219"/>
                    <a:gd name="connsiteY20" fmla="*/ 50472 h 76485"/>
                    <a:gd name="connsiteX21" fmla="*/ 19250 w 39219"/>
                    <a:gd name="connsiteY21" fmla="*/ 57059 h 76485"/>
                    <a:gd name="connsiteX22" fmla="*/ 9373 w 39219"/>
                    <a:gd name="connsiteY22" fmla="*/ 54484 h 76485"/>
                    <a:gd name="connsiteX23" fmla="*/ 989 w 39219"/>
                    <a:gd name="connsiteY23" fmla="*/ 56238 h 76485"/>
                    <a:gd name="connsiteX24" fmla="*/ 2742 w 39219"/>
                    <a:gd name="connsiteY24" fmla="*/ 64621 h 76485"/>
                    <a:gd name="connsiteX25" fmla="*/ 13234 w 39219"/>
                    <a:gd name="connsiteY25" fmla="*/ 68871 h 76485"/>
                    <a:gd name="connsiteX26" fmla="*/ 13234 w 39219"/>
                    <a:gd name="connsiteY26" fmla="*/ 70431 h 76485"/>
                    <a:gd name="connsiteX27" fmla="*/ 19292 w 39219"/>
                    <a:gd name="connsiteY27" fmla="*/ 76485 h 7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9219" h="76485">
                      <a:moveTo>
                        <a:pt x="19292" y="76485"/>
                      </a:moveTo>
                      <a:cubicBezTo>
                        <a:pt x="22637" y="76485"/>
                        <a:pt x="25348" y="73774"/>
                        <a:pt x="25348" y="70429"/>
                      </a:cubicBezTo>
                      <a:lnTo>
                        <a:pt x="25348" y="68235"/>
                      </a:lnTo>
                      <a:cubicBezTo>
                        <a:pt x="32962" y="65824"/>
                        <a:pt x="37832" y="59107"/>
                        <a:pt x="38947" y="52479"/>
                      </a:cubicBezTo>
                      <a:cubicBezTo>
                        <a:pt x="40460" y="43477"/>
                        <a:pt x="35583" y="35345"/>
                        <a:pt x="26808" y="32244"/>
                      </a:cubicBezTo>
                      <a:cubicBezTo>
                        <a:pt x="22209" y="30618"/>
                        <a:pt x="17130" y="28660"/>
                        <a:pt x="14336" y="26469"/>
                      </a:cubicBezTo>
                      <a:cubicBezTo>
                        <a:pt x="13155" y="25544"/>
                        <a:pt x="12463" y="23621"/>
                        <a:pt x="12725" y="21997"/>
                      </a:cubicBezTo>
                      <a:cubicBezTo>
                        <a:pt x="12985" y="20383"/>
                        <a:pt x="14093" y="19246"/>
                        <a:pt x="16110" y="18521"/>
                      </a:cubicBezTo>
                      <a:cubicBezTo>
                        <a:pt x="20979" y="16771"/>
                        <a:pt x="25232" y="20407"/>
                        <a:pt x="25492" y="20636"/>
                      </a:cubicBezTo>
                      <a:cubicBezTo>
                        <a:pt x="27948" y="22872"/>
                        <a:pt x="31748" y="22716"/>
                        <a:pt x="34010" y="20279"/>
                      </a:cubicBezTo>
                      <a:cubicBezTo>
                        <a:pt x="36285" y="17828"/>
                        <a:pt x="36144" y="13996"/>
                        <a:pt x="33691" y="11720"/>
                      </a:cubicBezTo>
                      <a:cubicBezTo>
                        <a:pt x="31947" y="10101"/>
                        <a:pt x="29006" y="8154"/>
                        <a:pt x="25348" y="6981"/>
                      </a:cubicBezTo>
                      <a:lnTo>
                        <a:pt x="25348" y="6056"/>
                      </a:lnTo>
                      <a:cubicBezTo>
                        <a:pt x="25348" y="2712"/>
                        <a:pt x="22637" y="0"/>
                        <a:pt x="19292" y="0"/>
                      </a:cubicBezTo>
                      <a:cubicBezTo>
                        <a:pt x="15946" y="0"/>
                        <a:pt x="13235" y="2712"/>
                        <a:pt x="13235" y="6056"/>
                      </a:cubicBezTo>
                      <a:lnTo>
                        <a:pt x="13235" y="6730"/>
                      </a:lnTo>
                      <a:cubicBezTo>
                        <a:pt x="12829" y="6848"/>
                        <a:pt x="12422" y="6975"/>
                        <a:pt x="12012" y="7122"/>
                      </a:cubicBezTo>
                      <a:cubicBezTo>
                        <a:pt x="5834" y="9343"/>
                        <a:pt x="1734" y="14061"/>
                        <a:pt x="765" y="20068"/>
                      </a:cubicBezTo>
                      <a:cubicBezTo>
                        <a:pt x="-205" y="26082"/>
                        <a:pt x="2187" y="32336"/>
                        <a:pt x="6860" y="36001"/>
                      </a:cubicBezTo>
                      <a:cubicBezTo>
                        <a:pt x="11021" y="39265"/>
                        <a:pt x="16967" y="41613"/>
                        <a:pt x="22770" y="43665"/>
                      </a:cubicBezTo>
                      <a:cubicBezTo>
                        <a:pt x="27185" y="45225"/>
                        <a:pt x="27316" y="48599"/>
                        <a:pt x="27001" y="50472"/>
                      </a:cubicBezTo>
                      <a:cubicBezTo>
                        <a:pt x="26471" y="53623"/>
                        <a:pt x="23820" y="57028"/>
                        <a:pt x="19250" y="57059"/>
                      </a:cubicBezTo>
                      <a:cubicBezTo>
                        <a:pt x="14411" y="57092"/>
                        <a:pt x="13024" y="56874"/>
                        <a:pt x="9373" y="54484"/>
                      </a:cubicBezTo>
                      <a:cubicBezTo>
                        <a:pt x="6573" y="52653"/>
                        <a:pt x="2820" y="53438"/>
                        <a:pt x="989" y="56238"/>
                      </a:cubicBezTo>
                      <a:cubicBezTo>
                        <a:pt x="-842" y="59036"/>
                        <a:pt x="-58" y="62791"/>
                        <a:pt x="2742" y="64621"/>
                      </a:cubicBezTo>
                      <a:cubicBezTo>
                        <a:pt x="6731" y="67230"/>
                        <a:pt x="9737" y="68392"/>
                        <a:pt x="13234" y="68871"/>
                      </a:cubicBezTo>
                      <a:lnTo>
                        <a:pt x="13234" y="70431"/>
                      </a:lnTo>
                      <a:cubicBezTo>
                        <a:pt x="13235" y="73774"/>
                        <a:pt x="15946" y="76485"/>
                        <a:pt x="19292" y="76485"/>
                      </a:cubicBezTo>
                      <a:close/>
                    </a:path>
                  </a:pathLst>
                </a:custGeom>
                <a:grpFill/>
                <a:ln w="8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70" name="Freeform: Shape 69">
                  <a:extLst>
                    <a:ext uri="{FF2B5EF4-FFF2-40B4-BE49-F238E27FC236}">
                      <a16:creationId xmlns:a16="http://schemas.microsoft.com/office/drawing/2014/main" id="{CDE885B2-C690-EC61-4032-BC93EF7511AE}"/>
                    </a:ext>
                  </a:extLst>
                </p:cNvPr>
                <p:cNvSpPr/>
                <p:nvPr/>
              </p:nvSpPr>
              <p:spPr>
                <a:xfrm>
                  <a:off x="6713322" y="1627026"/>
                  <a:ext cx="413452" cy="413452"/>
                </a:xfrm>
                <a:custGeom>
                  <a:avLst/>
                  <a:gdLst>
                    <a:gd name="connsiteX0" fmla="*/ 348664 w 413452"/>
                    <a:gd name="connsiteY0" fmla="*/ 283877 h 413452"/>
                    <a:gd name="connsiteX1" fmla="*/ 342342 w 413452"/>
                    <a:gd name="connsiteY1" fmla="*/ 284189 h 413452"/>
                    <a:gd name="connsiteX2" fmla="*/ 362877 w 413452"/>
                    <a:gd name="connsiteY2" fmla="*/ 206726 h 413452"/>
                    <a:gd name="connsiteX3" fmla="*/ 206726 w 413452"/>
                    <a:gd name="connsiteY3" fmla="*/ 50575 h 413452"/>
                    <a:gd name="connsiteX4" fmla="*/ 129263 w 413452"/>
                    <a:gd name="connsiteY4" fmla="*/ 71111 h 413452"/>
                    <a:gd name="connsiteX5" fmla="*/ 129575 w 413452"/>
                    <a:gd name="connsiteY5" fmla="*/ 64788 h 413452"/>
                    <a:gd name="connsiteX6" fmla="*/ 64788 w 413452"/>
                    <a:gd name="connsiteY6" fmla="*/ 0 h 413452"/>
                    <a:gd name="connsiteX7" fmla="*/ 32721 w 413452"/>
                    <a:gd name="connsiteY7" fmla="*/ 8485 h 413452"/>
                    <a:gd name="connsiteX8" fmla="*/ 30465 w 413452"/>
                    <a:gd name="connsiteY8" fmla="*/ 16747 h 413452"/>
                    <a:gd name="connsiteX9" fmla="*/ 38728 w 413452"/>
                    <a:gd name="connsiteY9" fmla="*/ 19003 h 413452"/>
                    <a:gd name="connsiteX10" fmla="*/ 64788 w 413452"/>
                    <a:gd name="connsiteY10" fmla="*/ 12113 h 413452"/>
                    <a:gd name="connsiteX11" fmla="*/ 117462 w 413452"/>
                    <a:gd name="connsiteY11" fmla="*/ 64788 h 413452"/>
                    <a:gd name="connsiteX12" fmla="*/ 64788 w 413452"/>
                    <a:gd name="connsiteY12" fmla="*/ 117462 h 413452"/>
                    <a:gd name="connsiteX13" fmla="*/ 12113 w 413452"/>
                    <a:gd name="connsiteY13" fmla="*/ 64788 h 413452"/>
                    <a:gd name="connsiteX14" fmla="*/ 20409 w 413452"/>
                    <a:gd name="connsiteY14" fmla="*/ 36401 h 413452"/>
                    <a:gd name="connsiteX15" fmla="*/ 18579 w 413452"/>
                    <a:gd name="connsiteY15" fmla="*/ 28034 h 413452"/>
                    <a:gd name="connsiteX16" fmla="*/ 10211 w 413452"/>
                    <a:gd name="connsiteY16" fmla="*/ 29865 h 413452"/>
                    <a:gd name="connsiteX17" fmla="*/ 0 w 413452"/>
                    <a:gd name="connsiteY17" fmla="*/ 64788 h 413452"/>
                    <a:gd name="connsiteX18" fmla="*/ 64788 w 413452"/>
                    <a:gd name="connsiteY18" fmla="*/ 129575 h 413452"/>
                    <a:gd name="connsiteX19" fmla="*/ 71111 w 413452"/>
                    <a:gd name="connsiteY19" fmla="*/ 129263 h 413452"/>
                    <a:gd name="connsiteX20" fmla="*/ 50575 w 413452"/>
                    <a:gd name="connsiteY20" fmla="*/ 206726 h 413452"/>
                    <a:gd name="connsiteX21" fmla="*/ 106381 w 413452"/>
                    <a:gd name="connsiteY21" fmla="*/ 326364 h 413452"/>
                    <a:gd name="connsiteX22" fmla="*/ 110271 w 413452"/>
                    <a:gd name="connsiteY22" fmla="*/ 327782 h 413452"/>
                    <a:gd name="connsiteX23" fmla="*/ 114913 w 413452"/>
                    <a:gd name="connsiteY23" fmla="*/ 325619 h 413452"/>
                    <a:gd name="connsiteX24" fmla="*/ 114168 w 413452"/>
                    <a:gd name="connsiteY24" fmla="*/ 317087 h 413452"/>
                    <a:gd name="connsiteX25" fmla="*/ 81557 w 413452"/>
                    <a:gd name="connsiteY25" fmla="*/ 278041 h 413452"/>
                    <a:gd name="connsiteX26" fmla="*/ 128611 w 413452"/>
                    <a:gd name="connsiteY26" fmla="*/ 278041 h 413452"/>
                    <a:gd name="connsiteX27" fmla="*/ 143723 w 413452"/>
                    <a:gd name="connsiteY27" fmla="*/ 315751 h 413452"/>
                    <a:gd name="connsiteX28" fmla="*/ 165252 w 413452"/>
                    <a:gd name="connsiteY28" fmla="*/ 344669 h 413452"/>
                    <a:gd name="connsiteX29" fmla="*/ 136543 w 413452"/>
                    <a:gd name="connsiteY29" fmla="*/ 332541 h 413452"/>
                    <a:gd name="connsiteX30" fmla="*/ 128301 w 413452"/>
                    <a:gd name="connsiteY30" fmla="*/ 334873 h 413452"/>
                    <a:gd name="connsiteX31" fmla="*/ 130633 w 413452"/>
                    <a:gd name="connsiteY31" fmla="*/ 343114 h 413452"/>
                    <a:gd name="connsiteX32" fmla="*/ 206725 w 413452"/>
                    <a:gd name="connsiteY32" fmla="*/ 362877 h 413452"/>
                    <a:gd name="connsiteX33" fmla="*/ 284189 w 413452"/>
                    <a:gd name="connsiteY33" fmla="*/ 342342 h 413452"/>
                    <a:gd name="connsiteX34" fmla="*/ 283876 w 413452"/>
                    <a:gd name="connsiteY34" fmla="*/ 348664 h 413452"/>
                    <a:gd name="connsiteX35" fmla="*/ 348663 w 413452"/>
                    <a:gd name="connsiteY35" fmla="*/ 413452 h 413452"/>
                    <a:gd name="connsiteX36" fmla="*/ 386464 w 413452"/>
                    <a:gd name="connsiteY36" fmla="*/ 401289 h 413452"/>
                    <a:gd name="connsiteX37" fmla="*/ 387843 w 413452"/>
                    <a:gd name="connsiteY37" fmla="*/ 392836 h 413452"/>
                    <a:gd name="connsiteX38" fmla="*/ 379390 w 413452"/>
                    <a:gd name="connsiteY38" fmla="*/ 391457 h 413452"/>
                    <a:gd name="connsiteX39" fmla="*/ 348664 w 413452"/>
                    <a:gd name="connsiteY39" fmla="*/ 401339 h 413452"/>
                    <a:gd name="connsiteX40" fmla="*/ 295990 w 413452"/>
                    <a:gd name="connsiteY40" fmla="*/ 348664 h 413452"/>
                    <a:gd name="connsiteX41" fmla="*/ 348664 w 413452"/>
                    <a:gd name="connsiteY41" fmla="*/ 295990 h 413452"/>
                    <a:gd name="connsiteX42" fmla="*/ 401339 w 413452"/>
                    <a:gd name="connsiteY42" fmla="*/ 348664 h 413452"/>
                    <a:gd name="connsiteX43" fmla="*/ 395789 w 413452"/>
                    <a:gd name="connsiteY43" fmla="*/ 372216 h 413452"/>
                    <a:gd name="connsiteX44" fmla="*/ 398485 w 413452"/>
                    <a:gd name="connsiteY44" fmla="*/ 380346 h 413452"/>
                    <a:gd name="connsiteX45" fmla="*/ 406614 w 413452"/>
                    <a:gd name="connsiteY45" fmla="*/ 377651 h 413452"/>
                    <a:gd name="connsiteX46" fmla="*/ 413452 w 413452"/>
                    <a:gd name="connsiteY46" fmla="*/ 348665 h 413452"/>
                    <a:gd name="connsiteX47" fmla="*/ 348664 w 413452"/>
                    <a:gd name="connsiteY47" fmla="*/ 283877 h 413452"/>
                    <a:gd name="connsiteX48" fmla="*/ 212782 w 413452"/>
                    <a:gd name="connsiteY48" fmla="*/ 350285 h 413452"/>
                    <a:gd name="connsiteX49" fmla="*/ 212782 w 413452"/>
                    <a:gd name="connsiteY49" fmla="*/ 278041 h 413452"/>
                    <a:gd name="connsiteX50" fmla="*/ 272227 w 413452"/>
                    <a:gd name="connsiteY50" fmla="*/ 278041 h 413452"/>
                    <a:gd name="connsiteX51" fmla="*/ 259085 w 413452"/>
                    <a:gd name="connsiteY51" fmla="*/ 309967 h 413452"/>
                    <a:gd name="connsiteX52" fmla="*/ 212782 w 413452"/>
                    <a:gd name="connsiteY52" fmla="*/ 350285 h 413452"/>
                    <a:gd name="connsiteX53" fmla="*/ 212782 w 413452"/>
                    <a:gd name="connsiteY53" fmla="*/ 265928 h 413452"/>
                    <a:gd name="connsiteX54" fmla="*/ 212782 w 413452"/>
                    <a:gd name="connsiteY54" fmla="*/ 212782 h 413452"/>
                    <a:gd name="connsiteX55" fmla="*/ 282171 w 413452"/>
                    <a:gd name="connsiteY55" fmla="*/ 212782 h 413452"/>
                    <a:gd name="connsiteX56" fmla="*/ 275516 w 413452"/>
                    <a:gd name="connsiteY56" fmla="*/ 265928 h 413452"/>
                    <a:gd name="connsiteX57" fmla="*/ 62816 w 413452"/>
                    <a:gd name="connsiteY57" fmla="*/ 200670 h 413452"/>
                    <a:gd name="connsiteX58" fmla="*/ 75368 w 413452"/>
                    <a:gd name="connsiteY58" fmla="*/ 147524 h 413452"/>
                    <a:gd name="connsiteX59" fmla="*/ 125511 w 413452"/>
                    <a:gd name="connsiteY59" fmla="*/ 147524 h 413452"/>
                    <a:gd name="connsiteX60" fmla="*/ 119166 w 413452"/>
                    <a:gd name="connsiteY60" fmla="*/ 200670 h 413452"/>
                    <a:gd name="connsiteX61" fmla="*/ 137936 w 413452"/>
                    <a:gd name="connsiteY61" fmla="*/ 147524 h 413452"/>
                    <a:gd name="connsiteX62" fmla="*/ 200670 w 413452"/>
                    <a:gd name="connsiteY62" fmla="*/ 147524 h 413452"/>
                    <a:gd name="connsiteX63" fmla="*/ 200670 w 413452"/>
                    <a:gd name="connsiteY63" fmla="*/ 200670 h 413452"/>
                    <a:gd name="connsiteX64" fmla="*/ 131281 w 413452"/>
                    <a:gd name="connsiteY64" fmla="*/ 200670 h 413452"/>
                    <a:gd name="connsiteX65" fmla="*/ 137936 w 413452"/>
                    <a:gd name="connsiteY65" fmla="*/ 147524 h 413452"/>
                    <a:gd name="connsiteX66" fmla="*/ 350627 w 413452"/>
                    <a:gd name="connsiteY66" fmla="*/ 200670 h 413452"/>
                    <a:gd name="connsiteX67" fmla="*/ 294286 w 413452"/>
                    <a:gd name="connsiteY67" fmla="*/ 200670 h 413452"/>
                    <a:gd name="connsiteX68" fmla="*/ 287941 w 413452"/>
                    <a:gd name="connsiteY68" fmla="*/ 147524 h 413452"/>
                    <a:gd name="connsiteX69" fmla="*/ 338029 w 413452"/>
                    <a:gd name="connsiteY69" fmla="*/ 147524 h 413452"/>
                    <a:gd name="connsiteX70" fmla="*/ 350627 w 413452"/>
                    <a:gd name="connsiteY70" fmla="*/ 200670 h 413452"/>
                    <a:gd name="connsiteX71" fmla="*/ 282171 w 413452"/>
                    <a:gd name="connsiteY71" fmla="*/ 200670 h 413452"/>
                    <a:gd name="connsiteX72" fmla="*/ 212782 w 413452"/>
                    <a:gd name="connsiteY72" fmla="*/ 200670 h 413452"/>
                    <a:gd name="connsiteX73" fmla="*/ 212782 w 413452"/>
                    <a:gd name="connsiteY73" fmla="*/ 147524 h 413452"/>
                    <a:gd name="connsiteX74" fmla="*/ 275516 w 413452"/>
                    <a:gd name="connsiteY74" fmla="*/ 147524 h 413452"/>
                    <a:gd name="connsiteX75" fmla="*/ 282171 w 413452"/>
                    <a:gd name="connsiteY75" fmla="*/ 200670 h 413452"/>
                    <a:gd name="connsiteX76" fmla="*/ 212782 w 413452"/>
                    <a:gd name="connsiteY76" fmla="*/ 135411 h 413452"/>
                    <a:gd name="connsiteX77" fmla="*/ 212782 w 413452"/>
                    <a:gd name="connsiteY77" fmla="*/ 63167 h 413452"/>
                    <a:gd name="connsiteX78" fmla="*/ 259086 w 413452"/>
                    <a:gd name="connsiteY78" fmla="*/ 103485 h 413452"/>
                    <a:gd name="connsiteX79" fmla="*/ 272227 w 413452"/>
                    <a:gd name="connsiteY79" fmla="*/ 135411 h 413452"/>
                    <a:gd name="connsiteX80" fmla="*/ 200670 w 413452"/>
                    <a:gd name="connsiteY80" fmla="*/ 63167 h 413452"/>
                    <a:gd name="connsiteX81" fmla="*/ 200670 w 413452"/>
                    <a:gd name="connsiteY81" fmla="*/ 135411 h 413452"/>
                    <a:gd name="connsiteX82" fmla="*/ 141225 w 413452"/>
                    <a:gd name="connsiteY82" fmla="*/ 135411 h 413452"/>
                    <a:gd name="connsiteX83" fmla="*/ 154367 w 413452"/>
                    <a:gd name="connsiteY83" fmla="*/ 103485 h 413452"/>
                    <a:gd name="connsiteX84" fmla="*/ 200670 w 413452"/>
                    <a:gd name="connsiteY84" fmla="*/ 63167 h 413452"/>
                    <a:gd name="connsiteX85" fmla="*/ 200670 w 413452"/>
                    <a:gd name="connsiteY85" fmla="*/ 212782 h 413452"/>
                    <a:gd name="connsiteX86" fmla="*/ 200670 w 413452"/>
                    <a:gd name="connsiteY86" fmla="*/ 265928 h 413452"/>
                    <a:gd name="connsiteX87" fmla="*/ 137936 w 413452"/>
                    <a:gd name="connsiteY87" fmla="*/ 265928 h 413452"/>
                    <a:gd name="connsiteX88" fmla="*/ 131281 w 413452"/>
                    <a:gd name="connsiteY88" fmla="*/ 212782 h 413452"/>
                    <a:gd name="connsiteX89" fmla="*/ 294286 w 413452"/>
                    <a:gd name="connsiteY89" fmla="*/ 212782 h 413452"/>
                    <a:gd name="connsiteX90" fmla="*/ 350636 w 413452"/>
                    <a:gd name="connsiteY90" fmla="*/ 212782 h 413452"/>
                    <a:gd name="connsiteX91" fmla="*/ 338084 w 413452"/>
                    <a:gd name="connsiteY91" fmla="*/ 265928 h 413452"/>
                    <a:gd name="connsiteX92" fmla="*/ 287940 w 413452"/>
                    <a:gd name="connsiteY92" fmla="*/ 265928 h 413452"/>
                    <a:gd name="connsiteX93" fmla="*/ 294286 w 413452"/>
                    <a:gd name="connsiteY93" fmla="*/ 212782 h 413452"/>
                    <a:gd name="connsiteX94" fmla="*/ 331835 w 413452"/>
                    <a:gd name="connsiteY94" fmla="*/ 135411 h 413452"/>
                    <a:gd name="connsiteX95" fmla="*/ 284841 w 413452"/>
                    <a:gd name="connsiteY95" fmla="*/ 135411 h 413452"/>
                    <a:gd name="connsiteX96" fmla="*/ 269729 w 413452"/>
                    <a:gd name="connsiteY96" fmla="*/ 97701 h 413452"/>
                    <a:gd name="connsiteX97" fmla="*/ 248201 w 413452"/>
                    <a:gd name="connsiteY97" fmla="*/ 68784 h 413452"/>
                    <a:gd name="connsiteX98" fmla="*/ 331835 w 413452"/>
                    <a:gd name="connsiteY98" fmla="*/ 135411 h 413452"/>
                    <a:gd name="connsiteX99" fmla="*/ 125297 w 413452"/>
                    <a:gd name="connsiteY99" fmla="*/ 87902 h 413452"/>
                    <a:gd name="connsiteX100" fmla="*/ 165320 w 413452"/>
                    <a:gd name="connsiteY100" fmla="*/ 68719 h 413452"/>
                    <a:gd name="connsiteX101" fmla="*/ 143724 w 413452"/>
                    <a:gd name="connsiteY101" fmla="*/ 97701 h 413452"/>
                    <a:gd name="connsiteX102" fmla="*/ 128612 w 413452"/>
                    <a:gd name="connsiteY102" fmla="*/ 135411 h 413452"/>
                    <a:gd name="connsiteX103" fmla="*/ 81548 w 413452"/>
                    <a:gd name="connsiteY103" fmla="*/ 135411 h 413452"/>
                    <a:gd name="connsiteX104" fmla="*/ 87902 w 413452"/>
                    <a:gd name="connsiteY104" fmla="*/ 125298 h 413452"/>
                    <a:gd name="connsiteX105" fmla="*/ 125297 w 413452"/>
                    <a:gd name="connsiteY105" fmla="*/ 87902 h 413452"/>
                    <a:gd name="connsiteX106" fmla="*/ 75403 w 413452"/>
                    <a:gd name="connsiteY106" fmla="*/ 265928 h 413452"/>
                    <a:gd name="connsiteX107" fmla="*/ 62828 w 413452"/>
                    <a:gd name="connsiteY107" fmla="*/ 212782 h 413452"/>
                    <a:gd name="connsiteX108" fmla="*/ 119166 w 413452"/>
                    <a:gd name="connsiteY108" fmla="*/ 212782 h 413452"/>
                    <a:gd name="connsiteX109" fmla="*/ 125511 w 413452"/>
                    <a:gd name="connsiteY109" fmla="*/ 265928 h 413452"/>
                    <a:gd name="connsiteX110" fmla="*/ 154366 w 413452"/>
                    <a:gd name="connsiteY110" fmla="*/ 309967 h 413452"/>
                    <a:gd name="connsiteX111" fmla="*/ 141225 w 413452"/>
                    <a:gd name="connsiteY111" fmla="*/ 278041 h 413452"/>
                    <a:gd name="connsiteX112" fmla="*/ 200670 w 413452"/>
                    <a:gd name="connsiteY112" fmla="*/ 278041 h 413452"/>
                    <a:gd name="connsiteX113" fmla="*/ 200670 w 413452"/>
                    <a:gd name="connsiteY113" fmla="*/ 350285 h 413452"/>
                    <a:gd name="connsiteX114" fmla="*/ 154366 w 413452"/>
                    <a:gd name="connsiteY114" fmla="*/ 309967 h 413452"/>
                    <a:gd name="connsiteX115" fmla="*/ 288155 w 413452"/>
                    <a:gd name="connsiteY115" fmla="*/ 325550 h 413452"/>
                    <a:gd name="connsiteX116" fmla="*/ 248132 w 413452"/>
                    <a:gd name="connsiteY116" fmla="*/ 344733 h 413452"/>
                    <a:gd name="connsiteX117" fmla="*/ 269729 w 413452"/>
                    <a:gd name="connsiteY117" fmla="*/ 315750 h 413452"/>
                    <a:gd name="connsiteX118" fmla="*/ 284841 w 413452"/>
                    <a:gd name="connsiteY118" fmla="*/ 278040 h 413452"/>
                    <a:gd name="connsiteX119" fmla="*/ 331905 w 413452"/>
                    <a:gd name="connsiteY119" fmla="*/ 278040 h 413452"/>
                    <a:gd name="connsiteX120" fmla="*/ 325551 w 413452"/>
                    <a:gd name="connsiteY120" fmla="*/ 288153 h 413452"/>
                    <a:gd name="connsiteX121" fmla="*/ 288155 w 413452"/>
                    <a:gd name="connsiteY121" fmla="*/ 325550 h 41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13452" h="413452">
                      <a:moveTo>
                        <a:pt x="348664" y="283877"/>
                      </a:moveTo>
                      <a:cubicBezTo>
                        <a:pt x="346531" y="283877"/>
                        <a:pt x="344422" y="283987"/>
                        <a:pt x="342342" y="284189"/>
                      </a:cubicBezTo>
                      <a:cubicBezTo>
                        <a:pt x="355815" y="260677"/>
                        <a:pt x="362877" y="234176"/>
                        <a:pt x="362877" y="206726"/>
                      </a:cubicBezTo>
                      <a:cubicBezTo>
                        <a:pt x="362877" y="120624"/>
                        <a:pt x="292828" y="50575"/>
                        <a:pt x="206726" y="50575"/>
                      </a:cubicBezTo>
                      <a:cubicBezTo>
                        <a:pt x="179275" y="50575"/>
                        <a:pt x="152774" y="57638"/>
                        <a:pt x="129263" y="71111"/>
                      </a:cubicBezTo>
                      <a:cubicBezTo>
                        <a:pt x="129465" y="69030"/>
                        <a:pt x="129575" y="66921"/>
                        <a:pt x="129575" y="64788"/>
                      </a:cubicBezTo>
                      <a:cubicBezTo>
                        <a:pt x="129575" y="29064"/>
                        <a:pt x="100512" y="0"/>
                        <a:pt x="64788" y="0"/>
                      </a:cubicBezTo>
                      <a:cubicBezTo>
                        <a:pt x="53528" y="0"/>
                        <a:pt x="42439" y="2934"/>
                        <a:pt x="32721" y="8485"/>
                      </a:cubicBezTo>
                      <a:cubicBezTo>
                        <a:pt x="29816" y="10144"/>
                        <a:pt x="28806" y="13843"/>
                        <a:pt x="30465" y="16747"/>
                      </a:cubicBezTo>
                      <a:cubicBezTo>
                        <a:pt x="32125" y="19652"/>
                        <a:pt x="35825" y="20662"/>
                        <a:pt x="38728" y="19003"/>
                      </a:cubicBezTo>
                      <a:cubicBezTo>
                        <a:pt x="46620" y="14496"/>
                        <a:pt x="55632" y="12113"/>
                        <a:pt x="64788" y="12113"/>
                      </a:cubicBezTo>
                      <a:cubicBezTo>
                        <a:pt x="93833" y="12113"/>
                        <a:pt x="117462" y="35743"/>
                        <a:pt x="117462" y="64788"/>
                      </a:cubicBezTo>
                      <a:cubicBezTo>
                        <a:pt x="117462" y="93833"/>
                        <a:pt x="93832" y="117462"/>
                        <a:pt x="64788" y="117462"/>
                      </a:cubicBezTo>
                      <a:cubicBezTo>
                        <a:pt x="35743" y="117462"/>
                        <a:pt x="12113" y="93833"/>
                        <a:pt x="12113" y="64788"/>
                      </a:cubicBezTo>
                      <a:cubicBezTo>
                        <a:pt x="12113" y="54684"/>
                        <a:pt x="14982" y="44868"/>
                        <a:pt x="20409" y="36401"/>
                      </a:cubicBezTo>
                      <a:cubicBezTo>
                        <a:pt x="22214" y="33585"/>
                        <a:pt x="21395" y="29839"/>
                        <a:pt x="18579" y="28034"/>
                      </a:cubicBezTo>
                      <a:cubicBezTo>
                        <a:pt x="15762" y="26229"/>
                        <a:pt x="12017" y="27048"/>
                        <a:pt x="10211" y="29865"/>
                      </a:cubicBezTo>
                      <a:cubicBezTo>
                        <a:pt x="3531" y="40286"/>
                        <a:pt x="0" y="52362"/>
                        <a:pt x="0" y="64788"/>
                      </a:cubicBezTo>
                      <a:cubicBezTo>
                        <a:pt x="0" y="100512"/>
                        <a:pt x="29064" y="129575"/>
                        <a:pt x="64788" y="129575"/>
                      </a:cubicBezTo>
                      <a:cubicBezTo>
                        <a:pt x="66921" y="129575"/>
                        <a:pt x="69030" y="129465"/>
                        <a:pt x="71111" y="129263"/>
                      </a:cubicBezTo>
                      <a:cubicBezTo>
                        <a:pt x="57637" y="152774"/>
                        <a:pt x="50575" y="179275"/>
                        <a:pt x="50575" y="206726"/>
                      </a:cubicBezTo>
                      <a:cubicBezTo>
                        <a:pt x="50575" y="252986"/>
                        <a:pt x="70915" y="296592"/>
                        <a:pt x="106381" y="326364"/>
                      </a:cubicBezTo>
                      <a:cubicBezTo>
                        <a:pt x="107515" y="327317"/>
                        <a:pt x="108897" y="327782"/>
                        <a:pt x="110271" y="327782"/>
                      </a:cubicBezTo>
                      <a:cubicBezTo>
                        <a:pt x="111999" y="327782"/>
                        <a:pt x="113715" y="327046"/>
                        <a:pt x="114913" y="325619"/>
                      </a:cubicBezTo>
                      <a:cubicBezTo>
                        <a:pt x="117063" y="323057"/>
                        <a:pt x="116731" y="319237"/>
                        <a:pt x="114168" y="317087"/>
                      </a:cubicBezTo>
                      <a:cubicBezTo>
                        <a:pt x="100893" y="305943"/>
                        <a:pt x="89916" y="292697"/>
                        <a:pt x="81557" y="278041"/>
                      </a:cubicBezTo>
                      <a:lnTo>
                        <a:pt x="128611" y="278041"/>
                      </a:lnTo>
                      <a:cubicBezTo>
                        <a:pt x="132523" y="291753"/>
                        <a:pt x="137588" y="304463"/>
                        <a:pt x="143723" y="315751"/>
                      </a:cubicBezTo>
                      <a:cubicBezTo>
                        <a:pt x="150103" y="327490"/>
                        <a:pt x="157360" y="337182"/>
                        <a:pt x="165252" y="344669"/>
                      </a:cubicBezTo>
                      <a:cubicBezTo>
                        <a:pt x="155284" y="341681"/>
                        <a:pt x="145644" y="337627"/>
                        <a:pt x="136543" y="332541"/>
                      </a:cubicBezTo>
                      <a:cubicBezTo>
                        <a:pt x="133622" y="330909"/>
                        <a:pt x="129932" y="331953"/>
                        <a:pt x="128301" y="334873"/>
                      </a:cubicBezTo>
                      <a:cubicBezTo>
                        <a:pt x="126669" y="337793"/>
                        <a:pt x="127713" y="341482"/>
                        <a:pt x="130633" y="343114"/>
                      </a:cubicBezTo>
                      <a:cubicBezTo>
                        <a:pt x="153765" y="356043"/>
                        <a:pt x="180077" y="362877"/>
                        <a:pt x="206725" y="362877"/>
                      </a:cubicBezTo>
                      <a:cubicBezTo>
                        <a:pt x="234176" y="362877"/>
                        <a:pt x="260677" y="355814"/>
                        <a:pt x="284189" y="342342"/>
                      </a:cubicBezTo>
                      <a:cubicBezTo>
                        <a:pt x="283986" y="344422"/>
                        <a:pt x="283876" y="346531"/>
                        <a:pt x="283876" y="348664"/>
                      </a:cubicBezTo>
                      <a:cubicBezTo>
                        <a:pt x="283876" y="384388"/>
                        <a:pt x="312940" y="413452"/>
                        <a:pt x="348663" y="413452"/>
                      </a:cubicBezTo>
                      <a:cubicBezTo>
                        <a:pt x="362332" y="413452"/>
                        <a:pt x="375402" y="409246"/>
                        <a:pt x="386464" y="401289"/>
                      </a:cubicBezTo>
                      <a:cubicBezTo>
                        <a:pt x="389179" y="399336"/>
                        <a:pt x="389796" y="395551"/>
                        <a:pt x="387843" y="392836"/>
                      </a:cubicBezTo>
                      <a:cubicBezTo>
                        <a:pt x="385890" y="390121"/>
                        <a:pt x="382105" y="389505"/>
                        <a:pt x="379390" y="391457"/>
                      </a:cubicBezTo>
                      <a:cubicBezTo>
                        <a:pt x="370404" y="397922"/>
                        <a:pt x="359778" y="401339"/>
                        <a:pt x="348664" y="401339"/>
                      </a:cubicBezTo>
                      <a:cubicBezTo>
                        <a:pt x="319619" y="401339"/>
                        <a:pt x="295990" y="377709"/>
                        <a:pt x="295990" y="348664"/>
                      </a:cubicBezTo>
                      <a:cubicBezTo>
                        <a:pt x="295990" y="319619"/>
                        <a:pt x="319620" y="295990"/>
                        <a:pt x="348664" y="295990"/>
                      </a:cubicBezTo>
                      <a:cubicBezTo>
                        <a:pt x="377709" y="295990"/>
                        <a:pt x="401339" y="319619"/>
                        <a:pt x="401339" y="348664"/>
                      </a:cubicBezTo>
                      <a:cubicBezTo>
                        <a:pt x="401339" y="356957"/>
                        <a:pt x="399472" y="364881"/>
                        <a:pt x="395789" y="372216"/>
                      </a:cubicBezTo>
                      <a:cubicBezTo>
                        <a:pt x="394289" y="375205"/>
                        <a:pt x="395495" y="378845"/>
                        <a:pt x="398485" y="380346"/>
                      </a:cubicBezTo>
                      <a:cubicBezTo>
                        <a:pt x="401473" y="381846"/>
                        <a:pt x="405115" y="380641"/>
                        <a:pt x="406614" y="377651"/>
                      </a:cubicBezTo>
                      <a:cubicBezTo>
                        <a:pt x="411151" y="368615"/>
                        <a:pt x="413452" y="358862"/>
                        <a:pt x="413452" y="348665"/>
                      </a:cubicBezTo>
                      <a:cubicBezTo>
                        <a:pt x="413452" y="312940"/>
                        <a:pt x="384388" y="283877"/>
                        <a:pt x="348664" y="283877"/>
                      </a:cubicBezTo>
                      <a:close/>
                      <a:moveTo>
                        <a:pt x="212782" y="350285"/>
                      </a:moveTo>
                      <a:lnTo>
                        <a:pt x="212782" y="278041"/>
                      </a:lnTo>
                      <a:lnTo>
                        <a:pt x="272227" y="278041"/>
                      </a:lnTo>
                      <a:cubicBezTo>
                        <a:pt x="268710" y="289613"/>
                        <a:pt x="264310" y="300354"/>
                        <a:pt x="259085" y="309967"/>
                      </a:cubicBezTo>
                      <a:cubicBezTo>
                        <a:pt x="246279" y="333532"/>
                        <a:pt x="230023" y="347605"/>
                        <a:pt x="212782" y="350285"/>
                      </a:cubicBezTo>
                      <a:close/>
                      <a:moveTo>
                        <a:pt x="212782" y="265928"/>
                      </a:moveTo>
                      <a:lnTo>
                        <a:pt x="212782" y="212782"/>
                      </a:lnTo>
                      <a:lnTo>
                        <a:pt x="282171" y="212782"/>
                      </a:lnTo>
                      <a:cubicBezTo>
                        <a:pt x="281765" y="231384"/>
                        <a:pt x="279494" y="249347"/>
                        <a:pt x="275516" y="265928"/>
                      </a:cubicBezTo>
                      <a:close/>
                      <a:moveTo>
                        <a:pt x="62816" y="200670"/>
                      </a:moveTo>
                      <a:cubicBezTo>
                        <a:pt x="63580" y="182147"/>
                        <a:pt x="67842" y="164182"/>
                        <a:pt x="75368" y="147524"/>
                      </a:cubicBezTo>
                      <a:lnTo>
                        <a:pt x="125511" y="147524"/>
                      </a:lnTo>
                      <a:cubicBezTo>
                        <a:pt x="121716" y="164240"/>
                        <a:pt x="119555" y="182176"/>
                        <a:pt x="119166" y="200670"/>
                      </a:cubicBezTo>
                      <a:close/>
                      <a:moveTo>
                        <a:pt x="137936" y="147524"/>
                      </a:moveTo>
                      <a:lnTo>
                        <a:pt x="200670" y="147524"/>
                      </a:lnTo>
                      <a:lnTo>
                        <a:pt x="200670" y="200670"/>
                      </a:lnTo>
                      <a:lnTo>
                        <a:pt x="131281" y="200670"/>
                      </a:lnTo>
                      <a:cubicBezTo>
                        <a:pt x="131687" y="182068"/>
                        <a:pt x="133958" y="164105"/>
                        <a:pt x="137936" y="147524"/>
                      </a:cubicBezTo>
                      <a:close/>
                      <a:moveTo>
                        <a:pt x="350627" y="200670"/>
                      </a:moveTo>
                      <a:lnTo>
                        <a:pt x="294286" y="200670"/>
                      </a:lnTo>
                      <a:cubicBezTo>
                        <a:pt x="293897" y="182176"/>
                        <a:pt x="291736" y="164240"/>
                        <a:pt x="287941" y="147524"/>
                      </a:cubicBezTo>
                      <a:lnTo>
                        <a:pt x="338029" y="147524"/>
                      </a:lnTo>
                      <a:cubicBezTo>
                        <a:pt x="345421" y="163854"/>
                        <a:pt x="349843" y="181800"/>
                        <a:pt x="350627" y="200670"/>
                      </a:cubicBezTo>
                      <a:close/>
                      <a:moveTo>
                        <a:pt x="282171" y="200670"/>
                      </a:moveTo>
                      <a:lnTo>
                        <a:pt x="212782" y="200670"/>
                      </a:lnTo>
                      <a:lnTo>
                        <a:pt x="212782" y="147524"/>
                      </a:lnTo>
                      <a:lnTo>
                        <a:pt x="275516" y="147524"/>
                      </a:lnTo>
                      <a:cubicBezTo>
                        <a:pt x="279494" y="164105"/>
                        <a:pt x="281765" y="182068"/>
                        <a:pt x="282171" y="200670"/>
                      </a:cubicBezTo>
                      <a:close/>
                      <a:moveTo>
                        <a:pt x="212782" y="135411"/>
                      </a:moveTo>
                      <a:lnTo>
                        <a:pt x="212782" y="63167"/>
                      </a:lnTo>
                      <a:cubicBezTo>
                        <a:pt x="230023" y="65848"/>
                        <a:pt x="246279" y="79921"/>
                        <a:pt x="259086" y="103485"/>
                      </a:cubicBezTo>
                      <a:cubicBezTo>
                        <a:pt x="264310" y="113098"/>
                        <a:pt x="268710" y="123838"/>
                        <a:pt x="272227" y="135411"/>
                      </a:cubicBezTo>
                      <a:close/>
                      <a:moveTo>
                        <a:pt x="200670" y="63167"/>
                      </a:moveTo>
                      <a:lnTo>
                        <a:pt x="200670" y="135411"/>
                      </a:lnTo>
                      <a:lnTo>
                        <a:pt x="141225" y="135411"/>
                      </a:lnTo>
                      <a:cubicBezTo>
                        <a:pt x="144742" y="123839"/>
                        <a:pt x="149142" y="113098"/>
                        <a:pt x="154367" y="103485"/>
                      </a:cubicBezTo>
                      <a:cubicBezTo>
                        <a:pt x="167174" y="79920"/>
                        <a:pt x="183429" y="65847"/>
                        <a:pt x="200670" y="63167"/>
                      </a:cubicBezTo>
                      <a:close/>
                      <a:moveTo>
                        <a:pt x="200670" y="212782"/>
                      </a:moveTo>
                      <a:lnTo>
                        <a:pt x="200670" y="265928"/>
                      </a:lnTo>
                      <a:lnTo>
                        <a:pt x="137936" y="265928"/>
                      </a:lnTo>
                      <a:cubicBezTo>
                        <a:pt x="133958" y="249347"/>
                        <a:pt x="131687" y="231384"/>
                        <a:pt x="131281" y="212782"/>
                      </a:cubicBezTo>
                      <a:close/>
                      <a:moveTo>
                        <a:pt x="294286" y="212782"/>
                      </a:moveTo>
                      <a:lnTo>
                        <a:pt x="350636" y="212782"/>
                      </a:lnTo>
                      <a:cubicBezTo>
                        <a:pt x="349872" y="231305"/>
                        <a:pt x="345610" y="249270"/>
                        <a:pt x="338084" y="265928"/>
                      </a:cubicBezTo>
                      <a:lnTo>
                        <a:pt x="287940" y="265928"/>
                      </a:lnTo>
                      <a:cubicBezTo>
                        <a:pt x="291736" y="249212"/>
                        <a:pt x="293897" y="231276"/>
                        <a:pt x="294286" y="212782"/>
                      </a:cubicBezTo>
                      <a:close/>
                      <a:moveTo>
                        <a:pt x="331835" y="135411"/>
                      </a:moveTo>
                      <a:lnTo>
                        <a:pt x="284841" y="135411"/>
                      </a:lnTo>
                      <a:cubicBezTo>
                        <a:pt x="280929" y="121699"/>
                        <a:pt x="275864" y="108989"/>
                        <a:pt x="269729" y="97701"/>
                      </a:cubicBezTo>
                      <a:cubicBezTo>
                        <a:pt x="263349" y="85962"/>
                        <a:pt x="256092" y="76271"/>
                        <a:pt x="248201" y="68784"/>
                      </a:cubicBezTo>
                      <a:cubicBezTo>
                        <a:pt x="283831" y="79517"/>
                        <a:pt x="313687" y="103699"/>
                        <a:pt x="331835" y="135411"/>
                      </a:cubicBezTo>
                      <a:close/>
                      <a:moveTo>
                        <a:pt x="125297" y="87902"/>
                      </a:moveTo>
                      <a:cubicBezTo>
                        <a:pt x="137684" y="79396"/>
                        <a:pt x="151158" y="72958"/>
                        <a:pt x="165320" y="68719"/>
                      </a:cubicBezTo>
                      <a:cubicBezTo>
                        <a:pt x="157403" y="76214"/>
                        <a:pt x="150122" y="85928"/>
                        <a:pt x="143724" y="97701"/>
                      </a:cubicBezTo>
                      <a:cubicBezTo>
                        <a:pt x="137589" y="108990"/>
                        <a:pt x="132524" y="121699"/>
                        <a:pt x="128612" y="135411"/>
                      </a:cubicBezTo>
                      <a:lnTo>
                        <a:pt x="81548" y="135411"/>
                      </a:lnTo>
                      <a:cubicBezTo>
                        <a:pt x="83516" y="131967"/>
                        <a:pt x="85638" y="128595"/>
                        <a:pt x="87902" y="125298"/>
                      </a:cubicBezTo>
                      <a:cubicBezTo>
                        <a:pt x="105057" y="118722"/>
                        <a:pt x="118721" y="105058"/>
                        <a:pt x="125297" y="87902"/>
                      </a:cubicBezTo>
                      <a:close/>
                      <a:moveTo>
                        <a:pt x="75403" y="265928"/>
                      </a:moveTo>
                      <a:cubicBezTo>
                        <a:pt x="67928" y="249351"/>
                        <a:pt x="63603" y="231350"/>
                        <a:pt x="62828" y="212782"/>
                      </a:cubicBezTo>
                      <a:lnTo>
                        <a:pt x="119166" y="212782"/>
                      </a:lnTo>
                      <a:cubicBezTo>
                        <a:pt x="119555" y="231276"/>
                        <a:pt x="121716" y="249212"/>
                        <a:pt x="125511" y="265928"/>
                      </a:cubicBezTo>
                      <a:close/>
                      <a:moveTo>
                        <a:pt x="154366" y="309967"/>
                      </a:moveTo>
                      <a:cubicBezTo>
                        <a:pt x="149142" y="300354"/>
                        <a:pt x="144742" y="289614"/>
                        <a:pt x="141225" y="278041"/>
                      </a:cubicBezTo>
                      <a:lnTo>
                        <a:pt x="200670" y="278041"/>
                      </a:lnTo>
                      <a:lnTo>
                        <a:pt x="200670" y="350285"/>
                      </a:lnTo>
                      <a:cubicBezTo>
                        <a:pt x="183429" y="347605"/>
                        <a:pt x="167174" y="333532"/>
                        <a:pt x="154366" y="309967"/>
                      </a:cubicBezTo>
                      <a:close/>
                      <a:moveTo>
                        <a:pt x="288155" y="325550"/>
                      </a:moveTo>
                      <a:cubicBezTo>
                        <a:pt x="275768" y="334056"/>
                        <a:pt x="262294" y="340494"/>
                        <a:pt x="248132" y="344733"/>
                      </a:cubicBezTo>
                      <a:cubicBezTo>
                        <a:pt x="256050" y="337237"/>
                        <a:pt x="263330" y="327523"/>
                        <a:pt x="269729" y="315750"/>
                      </a:cubicBezTo>
                      <a:cubicBezTo>
                        <a:pt x="275864" y="304461"/>
                        <a:pt x="280929" y="291752"/>
                        <a:pt x="284841" y="278040"/>
                      </a:cubicBezTo>
                      <a:lnTo>
                        <a:pt x="331905" y="278040"/>
                      </a:lnTo>
                      <a:cubicBezTo>
                        <a:pt x="329936" y="281484"/>
                        <a:pt x="327815" y="284856"/>
                        <a:pt x="325551" y="288153"/>
                      </a:cubicBezTo>
                      <a:cubicBezTo>
                        <a:pt x="308395" y="294730"/>
                        <a:pt x="294731" y="308394"/>
                        <a:pt x="288155" y="325550"/>
                      </a:cubicBezTo>
                      <a:close/>
                    </a:path>
                  </a:pathLst>
                </a:custGeom>
                <a:grpFill/>
                <a:ln w="8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71" name="Freeform: Shape 70">
                  <a:extLst>
                    <a:ext uri="{FF2B5EF4-FFF2-40B4-BE49-F238E27FC236}">
                      <a16:creationId xmlns:a16="http://schemas.microsoft.com/office/drawing/2014/main" id="{36552F34-A41B-BD74-849E-75B6AC8DD35B}"/>
                    </a:ext>
                  </a:extLst>
                </p:cNvPr>
                <p:cNvSpPr/>
                <p:nvPr/>
              </p:nvSpPr>
              <p:spPr>
                <a:xfrm>
                  <a:off x="6853749" y="1630760"/>
                  <a:ext cx="248552" cy="269494"/>
                </a:xfrm>
                <a:custGeom>
                  <a:avLst/>
                  <a:gdLst>
                    <a:gd name="connsiteX0" fmla="*/ 8127 w 248552"/>
                    <a:gd name="connsiteY0" fmla="*/ 43057 h 269494"/>
                    <a:gd name="connsiteX1" fmla="*/ 66298 w 248552"/>
                    <a:gd name="connsiteY1" fmla="*/ 32850 h 269494"/>
                    <a:gd name="connsiteX2" fmla="*/ 236440 w 248552"/>
                    <a:gd name="connsiteY2" fmla="*/ 202991 h 269494"/>
                    <a:gd name="connsiteX3" fmla="*/ 226161 w 248552"/>
                    <a:gd name="connsiteY3" fmla="*/ 261359 h 269494"/>
                    <a:gd name="connsiteX4" fmla="*/ 229773 w 248552"/>
                    <a:gd name="connsiteY4" fmla="*/ 269126 h 269494"/>
                    <a:gd name="connsiteX5" fmla="*/ 231850 w 248552"/>
                    <a:gd name="connsiteY5" fmla="*/ 269495 h 269494"/>
                    <a:gd name="connsiteX6" fmla="*/ 237539 w 248552"/>
                    <a:gd name="connsiteY6" fmla="*/ 265514 h 269494"/>
                    <a:gd name="connsiteX7" fmla="*/ 248552 w 248552"/>
                    <a:gd name="connsiteY7" fmla="*/ 202991 h 269494"/>
                    <a:gd name="connsiteX8" fmla="*/ 195170 w 248552"/>
                    <a:gd name="connsiteY8" fmla="*/ 74119 h 269494"/>
                    <a:gd name="connsiteX9" fmla="*/ 66298 w 248552"/>
                    <a:gd name="connsiteY9" fmla="*/ 20737 h 269494"/>
                    <a:gd name="connsiteX10" fmla="*/ 17398 w 248552"/>
                    <a:gd name="connsiteY10" fmla="*/ 27376 h 269494"/>
                    <a:gd name="connsiteX11" fmla="*/ 26147 w 248552"/>
                    <a:gd name="connsiteY11" fmla="*/ 8618 h 269494"/>
                    <a:gd name="connsiteX12" fmla="*/ 23218 w 248552"/>
                    <a:gd name="connsiteY12" fmla="*/ 569 h 269494"/>
                    <a:gd name="connsiteX13" fmla="*/ 15169 w 248552"/>
                    <a:gd name="connsiteY13" fmla="*/ 3498 h 269494"/>
                    <a:gd name="connsiteX14" fmla="*/ 568 w 248552"/>
                    <a:gd name="connsiteY14" fmla="*/ 34806 h 269494"/>
                    <a:gd name="connsiteX15" fmla="*/ 1591 w 248552"/>
                    <a:gd name="connsiteY15" fmla="*/ 41456 h 269494"/>
                    <a:gd name="connsiteX16" fmla="*/ 8127 w 248552"/>
                    <a:gd name="connsiteY16" fmla="*/ 43057 h 26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552" h="269494">
                      <a:moveTo>
                        <a:pt x="8127" y="43057"/>
                      </a:moveTo>
                      <a:cubicBezTo>
                        <a:pt x="26750" y="36284"/>
                        <a:pt x="46321" y="32850"/>
                        <a:pt x="66298" y="32850"/>
                      </a:cubicBezTo>
                      <a:cubicBezTo>
                        <a:pt x="160115" y="32850"/>
                        <a:pt x="236440" y="109175"/>
                        <a:pt x="236440" y="202991"/>
                      </a:cubicBezTo>
                      <a:cubicBezTo>
                        <a:pt x="236440" y="223047"/>
                        <a:pt x="232982" y="242685"/>
                        <a:pt x="226161" y="261359"/>
                      </a:cubicBezTo>
                      <a:cubicBezTo>
                        <a:pt x="225014" y="264501"/>
                        <a:pt x="226631" y="267978"/>
                        <a:pt x="229773" y="269126"/>
                      </a:cubicBezTo>
                      <a:cubicBezTo>
                        <a:pt x="230459" y="269376"/>
                        <a:pt x="231160" y="269495"/>
                        <a:pt x="231850" y="269495"/>
                      </a:cubicBezTo>
                      <a:cubicBezTo>
                        <a:pt x="234321" y="269495"/>
                        <a:pt x="236643" y="267970"/>
                        <a:pt x="237539" y="265514"/>
                      </a:cubicBezTo>
                      <a:cubicBezTo>
                        <a:pt x="244848" y="245505"/>
                        <a:pt x="248552" y="224469"/>
                        <a:pt x="248552" y="202991"/>
                      </a:cubicBezTo>
                      <a:cubicBezTo>
                        <a:pt x="248552" y="154310"/>
                        <a:pt x="229594" y="108543"/>
                        <a:pt x="195170" y="74119"/>
                      </a:cubicBezTo>
                      <a:cubicBezTo>
                        <a:pt x="160746" y="39695"/>
                        <a:pt x="114978" y="20737"/>
                        <a:pt x="66298" y="20737"/>
                      </a:cubicBezTo>
                      <a:cubicBezTo>
                        <a:pt x="49647" y="20737"/>
                        <a:pt x="33255" y="22967"/>
                        <a:pt x="17398" y="27376"/>
                      </a:cubicBezTo>
                      <a:lnTo>
                        <a:pt x="26147" y="8618"/>
                      </a:lnTo>
                      <a:cubicBezTo>
                        <a:pt x="27561" y="5586"/>
                        <a:pt x="26249" y="1983"/>
                        <a:pt x="23218" y="569"/>
                      </a:cubicBezTo>
                      <a:cubicBezTo>
                        <a:pt x="20187" y="-845"/>
                        <a:pt x="16583" y="467"/>
                        <a:pt x="15169" y="3498"/>
                      </a:cubicBezTo>
                      <a:lnTo>
                        <a:pt x="568" y="34806"/>
                      </a:lnTo>
                      <a:cubicBezTo>
                        <a:pt x="-468" y="37026"/>
                        <a:pt x="-64" y="39651"/>
                        <a:pt x="1591" y="41456"/>
                      </a:cubicBezTo>
                      <a:cubicBezTo>
                        <a:pt x="3245" y="43262"/>
                        <a:pt x="5824" y="43893"/>
                        <a:pt x="8127" y="43057"/>
                      </a:cubicBezTo>
                      <a:close/>
                    </a:path>
                  </a:pathLst>
                </a:custGeom>
                <a:grpFill/>
                <a:ln w="8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72" name="Freeform: Shape 71">
                  <a:extLst>
                    <a:ext uri="{FF2B5EF4-FFF2-40B4-BE49-F238E27FC236}">
                      <a16:creationId xmlns:a16="http://schemas.microsoft.com/office/drawing/2014/main" id="{E2D66CD5-CC21-58AE-2FA7-C2210B1C7421}"/>
                    </a:ext>
                  </a:extLst>
                </p:cNvPr>
                <p:cNvSpPr/>
                <p:nvPr/>
              </p:nvSpPr>
              <p:spPr>
                <a:xfrm>
                  <a:off x="6737793" y="1767248"/>
                  <a:ext cx="248552" cy="269494"/>
                </a:xfrm>
                <a:custGeom>
                  <a:avLst/>
                  <a:gdLst>
                    <a:gd name="connsiteX0" fmla="*/ 240426 w 248552"/>
                    <a:gd name="connsiteY0" fmla="*/ 226437 h 269494"/>
                    <a:gd name="connsiteX1" fmla="*/ 182254 w 248552"/>
                    <a:gd name="connsiteY1" fmla="*/ 236645 h 269494"/>
                    <a:gd name="connsiteX2" fmla="*/ 12113 w 248552"/>
                    <a:gd name="connsiteY2" fmla="*/ 66503 h 269494"/>
                    <a:gd name="connsiteX3" fmla="*/ 22391 w 248552"/>
                    <a:gd name="connsiteY3" fmla="*/ 8136 h 269494"/>
                    <a:gd name="connsiteX4" fmla="*/ 18780 w 248552"/>
                    <a:gd name="connsiteY4" fmla="*/ 369 h 269494"/>
                    <a:gd name="connsiteX5" fmla="*/ 11013 w 248552"/>
                    <a:gd name="connsiteY5" fmla="*/ 3980 h 269494"/>
                    <a:gd name="connsiteX6" fmla="*/ 0 w 248552"/>
                    <a:gd name="connsiteY6" fmla="*/ 66503 h 269494"/>
                    <a:gd name="connsiteX7" fmla="*/ 53382 w 248552"/>
                    <a:gd name="connsiteY7" fmla="*/ 195375 h 269494"/>
                    <a:gd name="connsiteX8" fmla="*/ 182254 w 248552"/>
                    <a:gd name="connsiteY8" fmla="*/ 248757 h 269494"/>
                    <a:gd name="connsiteX9" fmla="*/ 231154 w 248552"/>
                    <a:gd name="connsiteY9" fmla="*/ 242118 h 269494"/>
                    <a:gd name="connsiteX10" fmla="*/ 222406 w 248552"/>
                    <a:gd name="connsiteY10" fmla="*/ 260877 h 269494"/>
                    <a:gd name="connsiteX11" fmla="*/ 225335 w 248552"/>
                    <a:gd name="connsiteY11" fmla="*/ 268925 h 269494"/>
                    <a:gd name="connsiteX12" fmla="*/ 227890 w 248552"/>
                    <a:gd name="connsiteY12" fmla="*/ 269495 h 269494"/>
                    <a:gd name="connsiteX13" fmla="*/ 233383 w 248552"/>
                    <a:gd name="connsiteY13" fmla="*/ 265996 h 269494"/>
                    <a:gd name="connsiteX14" fmla="*/ 247985 w 248552"/>
                    <a:gd name="connsiteY14" fmla="*/ 234689 h 269494"/>
                    <a:gd name="connsiteX15" fmla="*/ 246962 w 248552"/>
                    <a:gd name="connsiteY15" fmla="*/ 228038 h 269494"/>
                    <a:gd name="connsiteX16" fmla="*/ 240426 w 248552"/>
                    <a:gd name="connsiteY16" fmla="*/ 226437 h 26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552" h="269494">
                      <a:moveTo>
                        <a:pt x="240426" y="226437"/>
                      </a:moveTo>
                      <a:cubicBezTo>
                        <a:pt x="221802" y="233210"/>
                        <a:pt x="202231" y="236645"/>
                        <a:pt x="182254" y="236645"/>
                      </a:cubicBezTo>
                      <a:cubicBezTo>
                        <a:pt x="88438" y="236645"/>
                        <a:pt x="12113" y="160319"/>
                        <a:pt x="12113" y="66503"/>
                      </a:cubicBezTo>
                      <a:cubicBezTo>
                        <a:pt x="12113" y="46448"/>
                        <a:pt x="15571" y="26810"/>
                        <a:pt x="22391" y="8136"/>
                      </a:cubicBezTo>
                      <a:cubicBezTo>
                        <a:pt x="23539" y="4994"/>
                        <a:pt x="21922" y="1516"/>
                        <a:pt x="18780" y="369"/>
                      </a:cubicBezTo>
                      <a:cubicBezTo>
                        <a:pt x="15636" y="-778"/>
                        <a:pt x="12160" y="838"/>
                        <a:pt x="11013" y="3980"/>
                      </a:cubicBezTo>
                      <a:cubicBezTo>
                        <a:pt x="3705" y="23990"/>
                        <a:pt x="0" y="45026"/>
                        <a:pt x="0" y="66503"/>
                      </a:cubicBezTo>
                      <a:cubicBezTo>
                        <a:pt x="0" y="115184"/>
                        <a:pt x="18958" y="160951"/>
                        <a:pt x="53382" y="195375"/>
                      </a:cubicBezTo>
                      <a:cubicBezTo>
                        <a:pt x="87806" y="229799"/>
                        <a:pt x="133574" y="248757"/>
                        <a:pt x="182254" y="248757"/>
                      </a:cubicBezTo>
                      <a:cubicBezTo>
                        <a:pt x="198905" y="248757"/>
                        <a:pt x="215297" y="246528"/>
                        <a:pt x="231154" y="242118"/>
                      </a:cubicBezTo>
                      <a:lnTo>
                        <a:pt x="222406" y="260877"/>
                      </a:lnTo>
                      <a:cubicBezTo>
                        <a:pt x="220992" y="263908"/>
                        <a:pt x="222303" y="267511"/>
                        <a:pt x="225335" y="268925"/>
                      </a:cubicBezTo>
                      <a:cubicBezTo>
                        <a:pt x="226162" y="269312"/>
                        <a:pt x="227034" y="269495"/>
                        <a:pt x="227890" y="269495"/>
                      </a:cubicBezTo>
                      <a:cubicBezTo>
                        <a:pt x="230171" y="269495"/>
                        <a:pt x="232355" y="268199"/>
                        <a:pt x="233383" y="265996"/>
                      </a:cubicBezTo>
                      <a:lnTo>
                        <a:pt x="247985" y="234689"/>
                      </a:lnTo>
                      <a:cubicBezTo>
                        <a:pt x="249020" y="232469"/>
                        <a:pt x="248616" y="229844"/>
                        <a:pt x="246962" y="228038"/>
                      </a:cubicBezTo>
                      <a:cubicBezTo>
                        <a:pt x="245307" y="226232"/>
                        <a:pt x="242727" y="225601"/>
                        <a:pt x="240426" y="226437"/>
                      </a:cubicBezTo>
                      <a:close/>
                    </a:path>
                  </a:pathLst>
                </a:custGeom>
                <a:grpFill/>
                <a:ln w="80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grpSp>
        <p:nvGrpSpPr>
          <p:cNvPr id="73" name="Group 72">
            <a:extLst>
              <a:ext uri="{FF2B5EF4-FFF2-40B4-BE49-F238E27FC236}">
                <a16:creationId xmlns:a16="http://schemas.microsoft.com/office/drawing/2014/main" id="{578C401E-C5DD-C0DC-D833-C091BB54307D}"/>
              </a:ext>
            </a:extLst>
          </p:cNvPr>
          <p:cNvGrpSpPr/>
          <p:nvPr/>
        </p:nvGrpSpPr>
        <p:grpSpPr>
          <a:xfrm>
            <a:off x="7337143" y="960258"/>
            <a:ext cx="2289553" cy="5263600"/>
            <a:chOff x="7337143" y="960258"/>
            <a:chExt cx="2289553" cy="5263600"/>
          </a:xfrm>
        </p:grpSpPr>
        <p:sp>
          <p:nvSpPr>
            <p:cNvPr id="74" name="TextBox 73">
              <a:extLst>
                <a:ext uri="{FF2B5EF4-FFF2-40B4-BE49-F238E27FC236}">
                  <a16:creationId xmlns:a16="http://schemas.microsoft.com/office/drawing/2014/main" id="{82DCA54B-7F47-0561-995D-CEF6AC2E762C}"/>
                </a:ext>
              </a:extLst>
            </p:cNvPr>
            <p:cNvSpPr txBox="1">
              <a:spLocks/>
            </p:cNvSpPr>
            <p:nvPr/>
          </p:nvSpPr>
          <p:spPr>
            <a:xfrm>
              <a:off x="7337143" y="1542672"/>
              <a:ext cx="2289553" cy="1101838"/>
            </a:xfrm>
            <a:prstGeom prst="rect">
              <a:avLst/>
            </a:prstGeom>
            <a:solidFill>
              <a:srgbClr val="00146D"/>
            </a:solidFill>
            <a:ln w="25400">
              <a:noFill/>
            </a:ln>
          </p:spPr>
          <p:txBody>
            <a:bodyPr wrap="square" lIns="76200" tIns="76200" rIns="76200" bIns="76200" anchor="ctr">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Mainstreaming sustainable consumption </a:t>
              </a:r>
              <a:r>
                <a:rPr kumimoji="0" lang="en-US" sz="1400" b="0" i="0" u="none" strike="noStrike" kern="0" cap="none" spc="0" normalizeH="0" baseline="0" noProof="0" dirty="0">
                  <a:ln>
                    <a:noFill/>
                  </a:ln>
                  <a:solidFill>
                    <a:srgbClr val="FFFFFF"/>
                  </a:solidFill>
                  <a:effectLst/>
                  <a:uLnTx/>
                  <a:uFillTx/>
                  <a:latin typeface="Century Gothic" panose="020B0502020202020204" pitchFamily="34" charset="0"/>
                  <a:cs typeface="Arial"/>
                  <a:sym typeface="Arial"/>
                </a:rPr>
                <a:t>options</a:t>
              </a:r>
            </a:p>
          </p:txBody>
        </p:sp>
        <p:sp>
          <p:nvSpPr>
            <p:cNvPr id="75" name="TextBox 74">
              <a:extLst>
                <a:ext uri="{FF2B5EF4-FFF2-40B4-BE49-F238E27FC236}">
                  <a16:creationId xmlns:a16="http://schemas.microsoft.com/office/drawing/2014/main" id="{87BEEF2A-5FF8-A7CB-CA37-F41CC77602D3}"/>
                </a:ext>
              </a:extLst>
            </p:cNvPr>
            <p:cNvSpPr txBox="1">
              <a:spLocks/>
            </p:cNvSpPr>
            <p:nvPr/>
          </p:nvSpPr>
          <p:spPr>
            <a:xfrm>
              <a:off x="7337143" y="2668520"/>
              <a:ext cx="2289553" cy="3555338"/>
            </a:xfrm>
            <a:prstGeom prst="rect">
              <a:avLst/>
            </a:prstGeom>
            <a:solidFill>
              <a:srgbClr val="FFFFFF">
                <a:lumMod val="95000"/>
              </a:srgbClr>
            </a:solidFill>
          </p:spPr>
          <p:txBody>
            <a:bodyPr wrap="square">
              <a:noAutofit/>
            </a:bodyPr>
            <a:lstStyle/>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Developing action plans to improve access to sustainable goods and services</a:t>
              </a:r>
            </a:p>
            <a:p>
              <a:pPr marL="228600" marR="0" lvl="0" indent="-228600" defTabSz="914400" eaLnBrk="1" fontAlgn="auto" latinLnBrk="0" hangingPunct="1">
                <a:lnSpc>
                  <a:spcPct val="100000"/>
                </a:lnSpc>
                <a:spcBef>
                  <a:spcPts val="600"/>
                </a:spcBef>
                <a:spcAft>
                  <a:spcPts val="0"/>
                </a:spcAft>
                <a:buClr>
                  <a:srgbClr val="00146D"/>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Century Gothic" panose="020B0502020202020204" pitchFamily="34" charset="0"/>
                  <a:cs typeface="Arial"/>
                  <a:sym typeface="Arial"/>
                </a:rPr>
                <a:t>Regulating marketing practices leading to over- consumption, and raising awareness</a:t>
              </a:r>
            </a:p>
          </p:txBody>
        </p:sp>
        <p:grpSp>
          <p:nvGrpSpPr>
            <p:cNvPr id="76" name="Group 75">
              <a:extLst>
                <a:ext uri="{FF2B5EF4-FFF2-40B4-BE49-F238E27FC236}">
                  <a16:creationId xmlns:a16="http://schemas.microsoft.com/office/drawing/2014/main" id="{44669649-9BA7-2B22-9124-D86404BC9359}"/>
                </a:ext>
              </a:extLst>
            </p:cNvPr>
            <p:cNvGrpSpPr/>
            <p:nvPr/>
          </p:nvGrpSpPr>
          <p:grpSpPr>
            <a:xfrm>
              <a:off x="8158854" y="960258"/>
              <a:ext cx="646130" cy="646128"/>
              <a:chOff x="7835331" y="1173492"/>
              <a:chExt cx="646130" cy="646128"/>
            </a:xfrm>
          </p:grpSpPr>
          <p:sp>
            <p:nvSpPr>
              <p:cNvPr id="77" name="Oval 76">
                <a:extLst>
                  <a:ext uri="{FF2B5EF4-FFF2-40B4-BE49-F238E27FC236}">
                    <a16:creationId xmlns:a16="http://schemas.microsoft.com/office/drawing/2014/main" id="{9165DF48-65EC-2D11-30E7-EE697C5138B6}"/>
                  </a:ext>
                </a:extLst>
              </p:cNvPr>
              <p:cNvSpPr/>
              <p:nvPr/>
            </p:nvSpPr>
            <p:spPr>
              <a:xfrm>
                <a:off x="7835331" y="1173492"/>
                <a:ext cx="646130" cy="646128"/>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2400" b="1" i="1" u="none" strike="noStrike" kern="0" cap="none" spc="0" normalizeH="0" baseline="0" noProof="0" dirty="0">
                  <a:ln>
                    <a:noFill/>
                  </a:ln>
                  <a:solidFill>
                    <a:srgbClr val="000000"/>
                  </a:solidFill>
                  <a:effectLst/>
                  <a:uLnTx/>
                  <a:uFillTx/>
                  <a:latin typeface="Century Gothic" panose="020B0502020202020204" pitchFamily="34" charset="0"/>
                  <a:sym typeface="Arial"/>
                </a:endParaRPr>
              </a:p>
            </p:txBody>
          </p:sp>
          <p:grpSp>
            <p:nvGrpSpPr>
              <p:cNvPr id="78" name="Graphic 35">
                <a:extLst>
                  <a:ext uri="{FF2B5EF4-FFF2-40B4-BE49-F238E27FC236}">
                    <a16:creationId xmlns:a16="http://schemas.microsoft.com/office/drawing/2014/main" id="{FA5ED4FF-EC50-C236-6038-05329FF12848}"/>
                  </a:ext>
                </a:extLst>
              </p:cNvPr>
              <p:cNvGrpSpPr/>
              <p:nvPr/>
            </p:nvGrpSpPr>
            <p:grpSpPr>
              <a:xfrm>
                <a:off x="7933336" y="1271496"/>
                <a:ext cx="450120" cy="450120"/>
                <a:chOff x="8433702" y="1608939"/>
                <a:chExt cx="450120" cy="450120"/>
              </a:xfrm>
              <a:noFill/>
            </p:grpSpPr>
            <p:grpSp>
              <p:nvGrpSpPr>
                <p:cNvPr id="79" name="Graphic 35">
                  <a:extLst>
                    <a:ext uri="{FF2B5EF4-FFF2-40B4-BE49-F238E27FC236}">
                      <a16:creationId xmlns:a16="http://schemas.microsoft.com/office/drawing/2014/main" id="{2EB17477-608A-28E3-6F0A-D641E41270B1}"/>
                    </a:ext>
                  </a:extLst>
                </p:cNvPr>
                <p:cNvGrpSpPr/>
                <p:nvPr/>
              </p:nvGrpSpPr>
              <p:grpSpPr>
                <a:xfrm>
                  <a:off x="8433702" y="1608939"/>
                  <a:ext cx="450120" cy="450120"/>
                  <a:chOff x="8433702" y="1608939"/>
                  <a:chExt cx="450120" cy="450120"/>
                </a:xfrm>
                <a:grpFill/>
              </p:grpSpPr>
              <p:sp>
                <p:nvSpPr>
                  <p:cNvPr id="94" name="Freeform: Shape 93">
                    <a:extLst>
                      <a:ext uri="{FF2B5EF4-FFF2-40B4-BE49-F238E27FC236}">
                        <a16:creationId xmlns:a16="http://schemas.microsoft.com/office/drawing/2014/main" id="{E0870F76-0347-3CCC-3B13-0BFE0F28462A}"/>
                      </a:ext>
                    </a:extLst>
                  </p:cNvPr>
                  <p:cNvSpPr/>
                  <p:nvPr/>
                </p:nvSpPr>
                <p:spPr>
                  <a:xfrm>
                    <a:off x="8691432" y="1815849"/>
                    <a:ext cx="192390" cy="217074"/>
                  </a:xfrm>
                  <a:custGeom>
                    <a:avLst/>
                    <a:gdLst>
                      <a:gd name="connsiteX0" fmla="*/ 0 w 192390"/>
                      <a:gd name="connsiteY0" fmla="*/ 190212 h 217074"/>
                      <a:gd name="connsiteX1" fmla="*/ 141570 w 192390"/>
                      <a:gd name="connsiteY1" fmla="*/ 36300 h 217074"/>
                      <a:gd name="connsiteX2" fmla="*/ 119790 w 192390"/>
                      <a:gd name="connsiteY2" fmla="*/ 36300 h 217074"/>
                      <a:gd name="connsiteX3" fmla="*/ 156090 w 192390"/>
                      <a:gd name="connsiteY3" fmla="*/ 0 h 217074"/>
                      <a:gd name="connsiteX4" fmla="*/ 192390 w 192390"/>
                      <a:gd name="connsiteY4" fmla="*/ 36300 h 217074"/>
                      <a:gd name="connsiteX5" fmla="*/ 169158 w 192390"/>
                      <a:gd name="connsiteY5" fmla="*/ 36300 h 217074"/>
                      <a:gd name="connsiteX6" fmla="*/ 5808 w 192390"/>
                      <a:gd name="connsiteY6" fmla="*/ 217074 h 2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390" h="217074">
                        <a:moveTo>
                          <a:pt x="0" y="190212"/>
                        </a:moveTo>
                        <a:cubicBezTo>
                          <a:pt x="75504" y="176418"/>
                          <a:pt x="133584" y="113982"/>
                          <a:pt x="141570" y="36300"/>
                        </a:cubicBezTo>
                        <a:lnTo>
                          <a:pt x="119790" y="36300"/>
                        </a:lnTo>
                        <a:lnTo>
                          <a:pt x="156090" y="0"/>
                        </a:lnTo>
                        <a:lnTo>
                          <a:pt x="192390" y="36300"/>
                        </a:lnTo>
                        <a:lnTo>
                          <a:pt x="169158" y="36300"/>
                        </a:lnTo>
                        <a:cubicBezTo>
                          <a:pt x="161172" y="127050"/>
                          <a:pt x="93654" y="200376"/>
                          <a:pt x="5808" y="217074"/>
                        </a:cubicBez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5" name="Freeform: Shape 94">
                    <a:extLst>
                      <a:ext uri="{FF2B5EF4-FFF2-40B4-BE49-F238E27FC236}">
                        <a16:creationId xmlns:a16="http://schemas.microsoft.com/office/drawing/2014/main" id="{0310851F-3488-98B6-2755-3CE4C800AE93}"/>
                      </a:ext>
                    </a:extLst>
                  </p:cNvPr>
                  <p:cNvSpPr/>
                  <p:nvPr/>
                </p:nvSpPr>
                <p:spPr>
                  <a:xfrm>
                    <a:off x="8433702" y="1635074"/>
                    <a:ext cx="192390" cy="217074"/>
                  </a:xfrm>
                  <a:custGeom>
                    <a:avLst/>
                    <a:gdLst>
                      <a:gd name="connsiteX0" fmla="*/ 192390 w 192390"/>
                      <a:gd name="connsiteY0" fmla="*/ 26862 h 217074"/>
                      <a:gd name="connsiteX1" fmla="*/ 50820 w 192390"/>
                      <a:gd name="connsiteY1" fmla="*/ 180774 h 217074"/>
                      <a:gd name="connsiteX2" fmla="*/ 72600 w 192390"/>
                      <a:gd name="connsiteY2" fmla="*/ 180774 h 217074"/>
                      <a:gd name="connsiteX3" fmla="*/ 36300 w 192390"/>
                      <a:gd name="connsiteY3" fmla="*/ 217074 h 217074"/>
                      <a:gd name="connsiteX4" fmla="*/ 0 w 192390"/>
                      <a:gd name="connsiteY4" fmla="*/ 180774 h 217074"/>
                      <a:gd name="connsiteX5" fmla="*/ 23232 w 192390"/>
                      <a:gd name="connsiteY5" fmla="*/ 180774 h 217074"/>
                      <a:gd name="connsiteX6" fmla="*/ 185856 w 192390"/>
                      <a:gd name="connsiteY6" fmla="*/ 0 h 2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390" h="217074">
                        <a:moveTo>
                          <a:pt x="192390" y="26862"/>
                        </a:moveTo>
                        <a:cubicBezTo>
                          <a:pt x="116886" y="40656"/>
                          <a:pt x="58806" y="103092"/>
                          <a:pt x="50820" y="180774"/>
                        </a:cubicBezTo>
                        <a:lnTo>
                          <a:pt x="72600" y="180774"/>
                        </a:lnTo>
                        <a:lnTo>
                          <a:pt x="36300" y="217074"/>
                        </a:lnTo>
                        <a:lnTo>
                          <a:pt x="0" y="180774"/>
                        </a:lnTo>
                        <a:lnTo>
                          <a:pt x="23232" y="180774"/>
                        </a:lnTo>
                        <a:cubicBezTo>
                          <a:pt x="31218" y="90750"/>
                          <a:pt x="98736" y="16698"/>
                          <a:pt x="185856" y="0"/>
                        </a:cubicBez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6" name="Freeform: Shape 95">
                    <a:extLst>
                      <a:ext uri="{FF2B5EF4-FFF2-40B4-BE49-F238E27FC236}">
                        <a16:creationId xmlns:a16="http://schemas.microsoft.com/office/drawing/2014/main" id="{06FE4CA3-C760-EA29-0B97-04FDB1AF056F}"/>
                      </a:ext>
                    </a:extLst>
                  </p:cNvPr>
                  <p:cNvSpPr/>
                  <p:nvPr/>
                </p:nvSpPr>
                <p:spPr>
                  <a:xfrm>
                    <a:off x="8459837" y="1865943"/>
                    <a:ext cx="217074" cy="193115"/>
                  </a:xfrm>
                  <a:custGeom>
                    <a:avLst/>
                    <a:gdLst>
                      <a:gd name="connsiteX0" fmla="*/ 26862 w 217074"/>
                      <a:gd name="connsiteY0" fmla="*/ 0 h 193115"/>
                      <a:gd name="connsiteX1" fmla="*/ 180774 w 217074"/>
                      <a:gd name="connsiteY1" fmla="*/ 142296 h 193115"/>
                      <a:gd name="connsiteX2" fmla="*/ 180774 w 217074"/>
                      <a:gd name="connsiteY2" fmla="*/ 120516 h 193115"/>
                      <a:gd name="connsiteX3" fmla="*/ 217074 w 217074"/>
                      <a:gd name="connsiteY3" fmla="*/ 156816 h 193115"/>
                      <a:gd name="connsiteX4" fmla="*/ 180774 w 217074"/>
                      <a:gd name="connsiteY4" fmla="*/ 193116 h 193115"/>
                      <a:gd name="connsiteX5" fmla="*/ 180774 w 217074"/>
                      <a:gd name="connsiteY5" fmla="*/ 169884 h 193115"/>
                      <a:gd name="connsiteX6" fmla="*/ 0 w 217074"/>
                      <a:gd name="connsiteY6" fmla="*/ 6534 h 19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74" h="193115">
                        <a:moveTo>
                          <a:pt x="26862" y="0"/>
                        </a:moveTo>
                        <a:cubicBezTo>
                          <a:pt x="40656" y="75504"/>
                          <a:pt x="103092" y="134310"/>
                          <a:pt x="180774" y="142296"/>
                        </a:cubicBezTo>
                        <a:lnTo>
                          <a:pt x="180774" y="120516"/>
                        </a:lnTo>
                        <a:lnTo>
                          <a:pt x="217074" y="156816"/>
                        </a:lnTo>
                        <a:lnTo>
                          <a:pt x="180774" y="193116"/>
                        </a:lnTo>
                        <a:lnTo>
                          <a:pt x="180774" y="169884"/>
                        </a:lnTo>
                        <a:cubicBezTo>
                          <a:pt x="90024" y="161898"/>
                          <a:pt x="16698" y="94380"/>
                          <a:pt x="0" y="6534"/>
                        </a:cubicBez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7" name="Freeform: Shape 96">
                    <a:extLst>
                      <a:ext uri="{FF2B5EF4-FFF2-40B4-BE49-F238E27FC236}">
                        <a16:creationId xmlns:a16="http://schemas.microsoft.com/office/drawing/2014/main" id="{B5547F93-4F36-D5DA-E182-3C8E1C527ABB}"/>
                      </a:ext>
                    </a:extLst>
                  </p:cNvPr>
                  <p:cNvSpPr/>
                  <p:nvPr/>
                </p:nvSpPr>
                <p:spPr>
                  <a:xfrm>
                    <a:off x="8640612" y="1608939"/>
                    <a:ext cx="217074" cy="192390"/>
                  </a:xfrm>
                  <a:custGeom>
                    <a:avLst/>
                    <a:gdLst>
                      <a:gd name="connsiteX0" fmla="*/ 190212 w 217074"/>
                      <a:gd name="connsiteY0" fmla="*/ 192390 h 192390"/>
                      <a:gd name="connsiteX1" fmla="*/ 36300 w 217074"/>
                      <a:gd name="connsiteY1" fmla="*/ 50820 h 192390"/>
                      <a:gd name="connsiteX2" fmla="*/ 36300 w 217074"/>
                      <a:gd name="connsiteY2" fmla="*/ 72600 h 192390"/>
                      <a:gd name="connsiteX3" fmla="*/ 0 w 217074"/>
                      <a:gd name="connsiteY3" fmla="*/ 36300 h 192390"/>
                      <a:gd name="connsiteX4" fmla="*/ 36300 w 217074"/>
                      <a:gd name="connsiteY4" fmla="*/ 0 h 192390"/>
                      <a:gd name="connsiteX5" fmla="*/ 36300 w 217074"/>
                      <a:gd name="connsiteY5" fmla="*/ 23232 h 192390"/>
                      <a:gd name="connsiteX6" fmla="*/ 217074 w 217074"/>
                      <a:gd name="connsiteY6" fmla="*/ 186582 h 19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74" h="192390">
                        <a:moveTo>
                          <a:pt x="190212" y="192390"/>
                        </a:moveTo>
                        <a:cubicBezTo>
                          <a:pt x="176418" y="116886"/>
                          <a:pt x="113982" y="58806"/>
                          <a:pt x="36300" y="50820"/>
                        </a:cubicBezTo>
                        <a:lnTo>
                          <a:pt x="36300" y="72600"/>
                        </a:lnTo>
                        <a:lnTo>
                          <a:pt x="0" y="36300"/>
                        </a:lnTo>
                        <a:lnTo>
                          <a:pt x="36300" y="0"/>
                        </a:lnTo>
                        <a:lnTo>
                          <a:pt x="36300" y="23232"/>
                        </a:lnTo>
                        <a:cubicBezTo>
                          <a:pt x="127050" y="31218"/>
                          <a:pt x="200376" y="98736"/>
                          <a:pt x="217074" y="186582"/>
                        </a:cubicBez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nvGrpSpPr>
                <p:cNvPr id="80" name="Graphic 35">
                  <a:extLst>
                    <a:ext uri="{FF2B5EF4-FFF2-40B4-BE49-F238E27FC236}">
                      <a16:creationId xmlns:a16="http://schemas.microsoft.com/office/drawing/2014/main" id="{E7D8211F-FF5D-D49B-FE8F-9FEC5576C805}"/>
                    </a:ext>
                  </a:extLst>
                </p:cNvPr>
                <p:cNvGrpSpPr/>
                <p:nvPr/>
              </p:nvGrpSpPr>
              <p:grpSpPr>
                <a:xfrm>
                  <a:off x="8568738" y="1751961"/>
                  <a:ext cx="185129" cy="142295"/>
                  <a:chOff x="8568738" y="1751961"/>
                  <a:chExt cx="185129" cy="142295"/>
                </a:xfrm>
                <a:grpFill/>
              </p:grpSpPr>
              <p:grpSp>
                <p:nvGrpSpPr>
                  <p:cNvPr id="81" name="Graphic 35">
                    <a:extLst>
                      <a:ext uri="{FF2B5EF4-FFF2-40B4-BE49-F238E27FC236}">
                        <a16:creationId xmlns:a16="http://schemas.microsoft.com/office/drawing/2014/main" id="{C22BB407-E8C4-6111-8FC6-539387709F2B}"/>
                      </a:ext>
                    </a:extLst>
                  </p:cNvPr>
                  <p:cNvGrpSpPr/>
                  <p:nvPr/>
                </p:nvGrpSpPr>
                <p:grpSpPr>
                  <a:xfrm>
                    <a:off x="8581805" y="1815122"/>
                    <a:ext cx="155363" cy="79133"/>
                    <a:chOff x="8581805" y="1815122"/>
                    <a:chExt cx="155363" cy="79133"/>
                  </a:xfrm>
                  <a:grpFill/>
                </p:grpSpPr>
                <p:grpSp>
                  <p:nvGrpSpPr>
                    <p:cNvPr id="84" name="Graphic 35">
                      <a:extLst>
                        <a:ext uri="{FF2B5EF4-FFF2-40B4-BE49-F238E27FC236}">
                          <a16:creationId xmlns:a16="http://schemas.microsoft.com/office/drawing/2014/main" id="{4057F3BF-D320-AB92-16FD-A92136904C6E}"/>
                        </a:ext>
                      </a:extLst>
                    </p:cNvPr>
                    <p:cNvGrpSpPr/>
                    <p:nvPr/>
                  </p:nvGrpSpPr>
                  <p:grpSpPr>
                    <a:xfrm>
                      <a:off x="8581805" y="1815122"/>
                      <a:ext cx="155363" cy="79133"/>
                      <a:chOff x="8581805" y="1815122"/>
                      <a:chExt cx="155363" cy="79133"/>
                    </a:xfrm>
                    <a:grpFill/>
                  </p:grpSpPr>
                  <p:sp>
                    <p:nvSpPr>
                      <p:cNvPr id="88" name="Freeform: Shape 87">
                        <a:extLst>
                          <a:ext uri="{FF2B5EF4-FFF2-40B4-BE49-F238E27FC236}">
                            <a16:creationId xmlns:a16="http://schemas.microsoft.com/office/drawing/2014/main" id="{C934251E-514A-3F28-453E-55F2473B0B2F}"/>
                          </a:ext>
                        </a:extLst>
                      </p:cNvPr>
                      <p:cNvSpPr/>
                      <p:nvPr/>
                    </p:nvSpPr>
                    <p:spPr>
                      <a:xfrm>
                        <a:off x="8581805" y="1815122"/>
                        <a:ext cx="155363" cy="79133"/>
                      </a:xfrm>
                      <a:custGeom>
                        <a:avLst/>
                        <a:gdLst>
                          <a:gd name="connsiteX0" fmla="*/ 129228 w 155363"/>
                          <a:gd name="connsiteY0" fmla="*/ 79134 h 79133"/>
                          <a:gd name="connsiteX1" fmla="*/ 26136 w 155363"/>
                          <a:gd name="connsiteY1" fmla="*/ 79134 h 79133"/>
                          <a:gd name="connsiteX2" fmla="*/ 13794 w 155363"/>
                          <a:gd name="connsiteY2" fmla="*/ 68970 h 79133"/>
                          <a:gd name="connsiteX3" fmla="*/ 0 w 155363"/>
                          <a:gd name="connsiteY3" fmla="*/ 0 h 79133"/>
                          <a:gd name="connsiteX4" fmla="*/ 155364 w 155363"/>
                          <a:gd name="connsiteY4" fmla="*/ 0 h 79133"/>
                          <a:gd name="connsiteX5" fmla="*/ 142296 w 155363"/>
                          <a:gd name="connsiteY5" fmla="*/ 68970 h 79133"/>
                          <a:gd name="connsiteX6" fmla="*/ 129228 w 155363"/>
                          <a:gd name="connsiteY6" fmla="*/ 79134 h 79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63" h="79133">
                            <a:moveTo>
                              <a:pt x="129228" y="79134"/>
                            </a:moveTo>
                            <a:lnTo>
                              <a:pt x="26136" y="79134"/>
                            </a:lnTo>
                            <a:cubicBezTo>
                              <a:pt x="19602" y="79134"/>
                              <a:pt x="14520" y="74778"/>
                              <a:pt x="13794" y="68970"/>
                            </a:cubicBezTo>
                            <a:lnTo>
                              <a:pt x="0" y="0"/>
                            </a:lnTo>
                            <a:lnTo>
                              <a:pt x="155364" y="0"/>
                            </a:lnTo>
                            <a:lnTo>
                              <a:pt x="142296" y="68970"/>
                            </a:lnTo>
                            <a:cubicBezTo>
                              <a:pt x="140844" y="74778"/>
                              <a:pt x="135762" y="79134"/>
                              <a:pt x="129228" y="79134"/>
                            </a:cubicBezTo>
                            <a:close/>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nvGrpSpPr>
                      <p:cNvPr id="89" name="Graphic 35">
                        <a:extLst>
                          <a:ext uri="{FF2B5EF4-FFF2-40B4-BE49-F238E27FC236}">
                            <a16:creationId xmlns:a16="http://schemas.microsoft.com/office/drawing/2014/main" id="{08FA586A-E97A-7984-1FFD-BE6CAA77D7E0}"/>
                          </a:ext>
                        </a:extLst>
                      </p:cNvPr>
                      <p:cNvGrpSpPr/>
                      <p:nvPr/>
                    </p:nvGrpSpPr>
                    <p:grpSpPr>
                      <a:xfrm>
                        <a:off x="8611572" y="1815122"/>
                        <a:ext cx="95832" cy="79133"/>
                        <a:chOff x="8611572" y="1815122"/>
                        <a:chExt cx="95832" cy="79133"/>
                      </a:xfrm>
                      <a:grpFill/>
                    </p:grpSpPr>
                    <p:sp>
                      <p:nvSpPr>
                        <p:cNvPr id="90" name="Freeform: Shape 89">
                          <a:extLst>
                            <a:ext uri="{FF2B5EF4-FFF2-40B4-BE49-F238E27FC236}">
                              <a16:creationId xmlns:a16="http://schemas.microsoft.com/office/drawing/2014/main" id="{9F41D9FC-F8A1-BE41-4537-AF4D09816DC5}"/>
                            </a:ext>
                          </a:extLst>
                        </p:cNvPr>
                        <p:cNvSpPr/>
                        <p:nvPr/>
                      </p:nvSpPr>
                      <p:spPr>
                        <a:xfrm>
                          <a:off x="8611572" y="1815122"/>
                          <a:ext cx="9437" cy="79133"/>
                        </a:xfrm>
                        <a:custGeom>
                          <a:avLst/>
                          <a:gdLst>
                            <a:gd name="connsiteX0" fmla="*/ 0 w 9437"/>
                            <a:gd name="connsiteY0" fmla="*/ 0 h 79133"/>
                            <a:gd name="connsiteX1" fmla="*/ 9438 w 9437"/>
                            <a:gd name="connsiteY1" fmla="*/ 79134 h 79133"/>
                          </a:gdLst>
                          <a:ahLst/>
                          <a:cxnLst>
                            <a:cxn ang="0">
                              <a:pos x="connsiteX0" y="connsiteY0"/>
                            </a:cxn>
                            <a:cxn ang="0">
                              <a:pos x="connsiteX1" y="connsiteY1"/>
                            </a:cxn>
                          </a:cxnLst>
                          <a:rect l="l" t="t" r="r" b="b"/>
                          <a:pathLst>
                            <a:path w="9437" h="79133">
                              <a:moveTo>
                                <a:pt x="0" y="0"/>
                              </a:moveTo>
                              <a:lnTo>
                                <a:pt x="9438" y="79134"/>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1" name="Freeform: Shape 90">
                          <a:extLst>
                            <a:ext uri="{FF2B5EF4-FFF2-40B4-BE49-F238E27FC236}">
                              <a16:creationId xmlns:a16="http://schemas.microsoft.com/office/drawing/2014/main" id="{D514F310-9297-AD75-63B3-3BFF74A18CE6}"/>
                            </a:ext>
                          </a:extLst>
                        </p:cNvPr>
                        <p:cNvSpPr/>
                        <p:nvPr/>
                      </p:nvSpPr>
                      <p:spPr>
                        <a:xfrm>
                          <a:off x="8643515" y="1815122"/>
                          <a:ext cx="3630" cy="79133"/>
                        </a:xfrm>
                        <a:custGeom>
                          <a:avLst/>
                          <a:gdLst>
                            <a:gd name="connsiteX0" fmla="*/ 0 w 3630"/>
                            <a:gd name="connsiteY0" fmla="*/ 0 h 79133"/>
                            <a:gd name="connsiteX1" fmla="*/ 3630 w 3630"/>
                            <a:gd name="connsiteY1" fmla="*/ 79134 h 79133"/>
                          </a:gdLst>
                          <a:ahLst/>
                          <a:cxnLst>
                            <a:cxn ang="0">
                              <a:pos x="connsiteX0" y="connsiteY0"/>
                            </a:cxn>
                            <a:cxn ang="0">
                              <a:pos x="connsiteX1" y="connsiteY1"/>
                            </a:cxn>
                          </a:cxnLst>
                          <a:rect l="l" t="t" r="r" b="b"/>
                          <a:pathLst>
                            <a:path w="3630" h="79133">
                              <a:moveTo>
                                <a:pt x="0" y="0"/>
                              </a:moveTo>
                              <a:lnTo>
                                <a:pt x="3630" y="79134"/>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2" name="Freeform: Shape 91">
                          <a:extLst>
                            <a:ext uri="{FF2B5EF4-FFF2-40B4-BE49-F238E27FC236}">
                              <a16:creationId xmlns:a16="http://schemas.microsoft.com/office/drawing/2014/main" id="{24DDEF09-F090-B5FB-D3C4-5CF68044B735}"/>
                            </a:ext>
                          </a:extLst>
                        </p:cNvPr>
                        <p:cNvSpPr/>
                        <p:nvPr/>
                      </p:nvSpPr>
                      <p:spPr>
                        <a:xfrm>
                          <a:off x="8672556" y="1815122"/>
                          <a:ext cx="2903" cy="79133"/>
                        </a:xfrm>
                        <a:custGeom>
                          <a:avLst/>
                          <a:gdLst>
                            <a:gd name="connsiteX0" fmla="*/ 2904 w 2903"/>
                            <a:gd name="connsiteY0" fmla="*/ 0 h 79133"/>
                            <a:gd name="connsiteX1" fmla="*/ 0 w 2903"/>
                            <a:gd name="connsiteY1" fmla="*/ 79134 h 79133"/>
                          </a:gdLst>
                          <a:ahLst/>
                          <a:cxnLst>
                            <a:cxn ang="0">
                              <a:pos x="connsiteX0" y="connsiteY0"/>
                            </a:cxn>
                            <a:cxn ang="0">
                              <a:pos x="connsiteX1" y="connsiteY1"/>
                            </a:cxn>
                          </a:cxnLst>
                          <a:rect l="l" t="t" r="r" b="b"/>
                          <a:pathLst>
                            <a:path w="2903" h="79133">
                              <a:moveTo>
                                <a:pt x="2904" y="0"/>
                              </a:moveTo>
                              <a:lnTo>
                                <a:pt x="0" y="79134"/>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93" name="Freeform: Shape 92">
                          <a:extLst>
                            <a:ext uri="{FF2B5EF4-FFF2-40B4-BE49-F238E27FC236}">
                              <a16:creationId xmlns:a16="http://schemas.microsoft.com/office/drawing/2014/main" id="{2E0004D3-EB68-E8E8-508A-F76934877D2E}"/>
                            </a:ext>
                          </a:extLst>
                        </p:cNvPr>
                        <p:cNvSpPr/>
                        <p:nvPr/>
                      </p:nvSpPr>
                      <p:spPr>
                        <a:xfrm>
                          <a:off x="8697966" y="1815122"/>
                          <a:ext cx="9437" cy="79133"/>
                        </a:xfrm>
                        <a:custGeom>
                          <a:avLst/>
                          <a:gdLst>
                            <a:gd name="connsiteX0" fmla="*/ 9438 w 9437"/>
                            <a:gd name="connsiteY0" fmla="*/ 0 h 79133"/>
                            <a:gd name="connsiteX1" fmla="*/ 0 w 9437"/>
                            <a:gd name="connsiteY1" fmla="*/ 79134 h 79133"/>
                          </a:gdLst>
                          <a:ahLst/>
                          <a:cxnLst>
                            <a:cxn ang="0">
                              <a:pos x="connsiteX0" y="connsiteY0"/>
                            </a:cxn>
                            <a:cxn ang="0">
                              <a:pos x="connsiteX1" y="connsiteY1"/>
                            </a:cxn>
                          </a:cxnLst>
                          <a:rect l="l" t="t" r="r" b="b"/>
                          <a:pathLst>
                            <a:path w="9437" h="79133">
                              <a:moveTo>
                                <a:pt x="9438" y="0"/>
                              </a:moveTo>
                              <a:lnTo>
                                <a:pt x="0" y="79134"/>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nvGrpSpPr>
                    <p:cNvPr id="85" name="Graphic 35">
                      <a:extLst>
                        <a:ext uri="{FF2B5EF4-FFF2-40B4-BE49-F238E27FC236}">
                          <a16:creationId xmlns:a16="http://schemas.microsoft.com/office/drawing/2014/main" id="{6E186F42-FACD-7824-2EB5-1807C253644E}"/>
                        </a:ext>
                      </a:extLst>
                    </p:cNvPr>
                    <p:cNvGrpSpPr/>
                    <p:nvPr/>
                  </p:nvGrpSpPr>
                  <p:grpSpPr>
                    <a:xfrm>
                      <a:off x="8587614" y="1844163"/>
                      <a:ext cx="143747" cy="28313"/>
                      <a:chOff x="8587614" y="1844163"/>
                      <a:chExt cx="143747" cy="28313"/>
                    </a:xfrm>
                    <a:grpFill/>
                  </p:grpSpPr>
                  <p:sp>
                    <p:nvSpPr>
                      <p:cNvPr id="86" name="Freeform: Shape 85">
                        <a:extLst>
                          <a:ext uri="{FF2B5EF4-FFF2-40B4-BE49-F238E27FC236}">
                            <a16:creationId xmlns:a16="http://schemas.microsoft.com/office/drawing/2014/main" id="{813E18E2-E915-CAEC-38E3-6BEBDD940834}"/>
                          </a:ext>
                        </a:extLst>
                      </p:cNvPr>
                      <p:cNvSpPr/>
                      <p:nvPr/>
                    </p:nvSpPr>
                    <p:spPr>
                      <a:xfrm>
                        <a:off x="8587614" y="1844163"/>
                        <a:ext cx="143747" cy="7260"/>
                      </a:xfrm>
                      <a:custGeom>
                        <a:avLst/>
                        <a:gdLst>
                          <a:gd name="connsiteX0" fmla="*/ 0 w 143747"/>
                          <a:gd name="connsiteY0" fmla="*/ 0 h 7260"/>
                          <a:gd name="connsiteX1" fmla="*/ 143748 w 143747"/>
                          <a:gd name="connsiteY1" fmla="*/ 0 h 7260"/>
                        </a:gdLst>
                        <a:ahLst/>
                        <a:cxnLst>
                          <a:cxn ang="0">
                            <a:pos x="connsiteX0" y="connsiteY0"/>
                          </a:cxn>
                          <a:cxn ang="0">
                            <a:pos x="connsiteX1" y="connsiteY1"/>
                          </a:cxn>
                        </a:cxnLst>
                        <a:rect l="l" t="t" r="r" b="b"/>
                        <a:pathLst>
                          <a:path w="143747" h="7260">
                            <a:moveTo>
                              <a:pt x="0" y="0"/>
                            </a:moveTo>
                            <a:lnTo>
                              <a:pt x="143748" y="0"/>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87" name="Freeform: Shape 86">
                        <a:extLst>
                          <a:ext uri="{FF2B5EF4-FFF2-40B4-BE49-F238E27FC236}">
                            <a16:creationId xmlns:a16="http://schemas.microsoft.com/office/drawing/2014/main" id="{B74689A9-4D98-0E33-8B81-B2EF074560D7}"/>
                          </a:ext>
                        </a:extLst>
                      </p:cNvPr>
                      <p:cNvSpPr/>
                      <p:nvPr/>
                    </p:nvSpPr>
                    <p:spPr>
                      <a:xfrm>
                        <a:off x="8593422" y="1872476"/>
                        <a:ext cx="132857" cy="7260"/>
                      </a:xfrm>
                      <a:custGeom>
                        <a:avLst/>
                        <a:gdLst>
                          <a:gd name="connsiteX0" fmla="*/ 0 w 132857"/>
                          <a:gd name="connsiteY0" fmla="*/ 0 h 7260"/>
                          <a:gd name="connsiteX1" fmla="*/ 132858 w 132857"/>
                          <a:gd name="connsiteY1" fmla="*/ 0 h 7260"/>
                        </a:gdLst>
                        <a:ahLst/>
                        <a:cxnLst>
                          <a:cxn ang="0">
                            <a:pos x="connsiteX0" y="connsiteY0"/>
                          </a:cxn>
                          <a:cxn ang="0">
                            <a:pos x="connsiteX1" y="connsiteY1"/>
                          </a:cxn>
                        </a:cxnLst>
                        <a:rect l="l" t="t" r="r" b="b"/>
                        <a:pathLst>
                          <a:path w="132857" h="7260">
                            <a:moveTo>
                              <a:pt x="0" y="0"/>
                            </a:moveTo>
                            <a:lnTo>
                              <a:pt x="132858" y="0"/>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sp>
                <p:nvSpPr>
                  <p:cNvPr id="82" name="Freeform: Shape 81">
                    <a:extLst>
                      <a:ext uri="{FF2B5EF4-FFF2-40B4-BE49-F238E27FC236}">
                        <a16:creationId xmlns:a16="http://schemas.microsoft.com/office/drawing/2014/main" id="{46FE727F-5F40-49EB-75D2-38004CE8A72A}"/>
                      </a:ext>
                    </a:extLst>
                  </p:cNvPr>
                  <p:cNvSpPr/>
                  <p:nvPr/>
                </p:nvSpPr>
                <p:spPr>
                  <a:xfrm>
                    <a:off x="8568738" y="1788261"/>
                    <a:ext cx="185129" cy="26135"/>
                  </a:xfrm>
                  <a:custGeom>
                    <a:avLst/>
                    <a:gdLst>
                      <a:gd name="connsiteX0" fmla="*/ 179322 w 185129"/>
                      <a:gd name="connsiteY0" fmla="*/ 0 h 26135"/>
                      <a:gd name="connsiteX1" fmla="*/ 5808 w 185129"/>
                      <a:gd name="connsiteY1" fmla="*/ 0 h 26135"/>
                      <a:gd name="connsiteX2" fmla="*/ 0 w 185129"/>
                      <a:gd name="connsiteY2" fmla="*/ 5808 h 26135"/>
                      <a:gd name="connsiteX3" fmla="*/ 0 w 185129"/>
                      <a:gd name="connsiteY3" fmla="*/ 20328 h 26135"/>
                      <a:gd name="connsiteX4" fmla="*/ 5808 w 185129"/>
                      <a:gd name="connsiteY4" fmla="*/ 26136 h 26135"/>
                      <a:gd name="connsiteX5" fmla="*/ 179322 w 185129"/>
                      <a:gd name="connsiteY5" fmla="*/ 26136 h 26135"/>
                      <a:gd name="connsiteX6" fmla="*/ 185130 w 185129"/>
                      <a:gd name="connsiteY6" fmla="*/ 20328 h 26135"/>
                      <a:gd name="connsiteX7" fmla="*/ 185130 w 185129"/>
                      <a:gd name="connsiteY7" fmla="*/ 5808 h 26135"/>
                      <a:gd name="connsiteX8" fmla="*/ 179322 w 185129"/>
                      <a:gd name="connsiteY8" fmla="*/ 0 h 26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5129" h="26135">
                        <a:moveTo>
                          <a:pt x="179322" y="0"/>
                        </a:moveTo>
                        <a:lnTo>
                          <a:pt x="5808" y="0"/>
                        </a:lnTo>
                        <a:cubicBezTo>
                          <a:pt x="2178" y="0"/>
                          <a:pt x="0" y="2904"/>
                          <a:pt x="0" y="5808"/>
                        </a:cubicBezTo>
                        <a:lnTo>
                          <a:pt x="0" y="20328"/>
                        </a:lnTo>
                        <a:cubicBezTo>
                          <a:pt x="0" y="23958"/>
                          <a:pt x="2904" y="26136"/>
                          <a:pt x="5808" y="26136"/>
                        </a:cubicBezTo>
                        <a:lnTo>
                          <a:pt x="179322" y="26136"/>
                        </a:lnTo>
                        <a:cubicBezTo>
                          <a:pt x="182952" y="26136"/>
                          <a:pt x="185130" y="23232"/>
                          <a:pt x="185130" y="20328"/>
                        </a:cubicBezTo>
                        <a:lnTo>
                          <a:pt x="185130" y="5808"/>
                        </a:lnTo>
                        <a:cubicBezTo>
                          <a:pt x="185130" y="2904"/>
                          <a:pt x="182226" y="0"/>
                          <a:pt x="179322" y="0"/>
                        </a:cubicBezTo>
                        <a:close/>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sp>
                <p:nvSpPr>
                  <p:cNvPr id="83" name="Freeform: Shape 82">
                    <a:extLst>
                      <a:ext uri="{FF2B5EF4-FFF2-40B4-BE49-F238E27FC236}">
                        <a16:creationId xmlns:a16="http://schemas.microsoft.com/office/drawing/2014/main" id="{8C47D4FD-FD13-24F4-C989-91820422B7BC}"/>
                      </a:ext>
                    </a:extLst>
                  </p:cNvPr>
                  <p:cNvSpPr/>
                  <p:nvPr/>
                </p:nvSpPr>
                <p:spPr>
                  <a:xfrm>
                    <a:off x="8662392" y="1751961"/>
                    <a:ext cx="18875" cy="34121"/>
                  </a:xfrm>
                  <a:custGeom>
                    <a:avLst/>
                    <a:gdLst>
                      <a:gd name="connsiteX0" fmla="*/ 0 w 18875"/>
                      <a:gd name="connsiteY0" fmla="*/ 34122 h 34121"/>
                      <a:gd name="connsiteX1" fmla="*/ 18876 w 18875"/>
                      <a:gd name="connsiteY1" fmla="*/ 0 h 34121"/>
                    </a:gdLst>
                    <a:ahLst/>
                    <a:cxnLst>
                      <a:cxn ang="0">
                        <a:pos x="connsiteX0" y="connsiteY0"/>
                      </a:cxn>
                      <a:cxn ang="0">
                        <a:pos x="connsiteX1" y="connsiteY1"/>
                      </a:cxn>
                    </a:cxnLst>
                    <a:rect l="l" t="t" r="r" b="b"/>
                    <a:pathLst>
                      <a:path w="18875" h="34121">
                        <a:moveTo>
                          <a:pt x="0" y="34122"/>
                        </a:moveTo>
                        <a:lnTo>
                          <a:pt x="18876" y="0"/>
                        </a:lnTo>
                      </a:path>
                    </a:pathLst>
                  </a:custGeom>
                  <a:grpFill/>
                  <a:ln w="10824" cap="rnd">
                    <a:solidFill>
                      <a:srgbClr val="00146D"/>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1" u="none" strike="noStrike" kern="0" cap="none" spc="0" normalizeH="0" baseline="0" noProof="0">
                      <a:ln>
                        <a:noFill/>
                      </a:ln>
                      <a:solidFill>
                        <a:srgbClr val="000000"/>
                      </a:solidFill>
                      <a:effectLst/>
                      <a:uLnTx/>
                      <a:uFillTx/>
                      <a:latin typeface="Century Gothic" panose="020B0502020202020204" pitchFamily="34" charset="0"/>
                      <a:cs typeface="Arial"/>
                      <a:sym typeface="Arial"/>
                    </a:endParaRPr>
                  </a:p>
                </p:txBody>
              </p:sp>
            </p:grpSp>
          </p:grpSp>
        </p:grpSp>
      </p:grpSp>
      <p:sp>
        <p:nvSpPr>
          <p:cNvPr id="109" name="Rectangle 108">
            <a:extLst>
              <a:ext uri="{FF2B5EF4-FFF2-40B4-BE49-F238E27FC236}">
                <a16:creationId xmlns:a16="http://schemas.microsoft.com/office/drawing/2014/main" id="{357FFA83-CB73-C628-1ED8-59A3C12123A7}"/>
              </a:ext>
            </a:extLst>
          </p:cNvPr>
          <p:cNvSpPr/>
          <p:nvPr/>
        </p:nvSpPr>
        <p:spPr>
          <a:xfrm>
            <a:off x="10105984" y="6250709"/>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3971199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CF4B62-5D6C-116B-A365-7FCCC9EB81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2CF4B62-5D6C-116B-A365-7FCCC9EB8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69487D74-2AF1-B6D2-5D11-FC1BF452A789}"/>
              </a:ext>
            </a:extLst>
          </p:cNvPr>
          <p:cNvSpPr/>
          <p:nvPr/>
        </p:nvSpPr>
        <p:spPr>
          <a:xfrm>
            <a:off x="927100" y="6259364"/>
            <a:ext cx="457200" cy="3651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A0C3B3C3-60F6-4DEC-1440-FD3E94FDD3FE}"/>
              </a:ext>
            </a:extLst>
          </p:cNvPr>
          <p:cNvSpPr txBox="1"/>
          <p:nvPr/>
        </p:nvSpPr>
        <p:spPr>
          <a:xfrm>
            <a:off x="381000" y="379600"/>
            <a:ext cx="6712527" cy="480131"/>
          </a:xfrm>
          <a:prstGeom prst="rect">
            <a:avLst/>
          </a:prstGeom>
        </p:spPr>
        <p:txBody>
          <a:bodyPr vert="horz" lIns="0" tIns="0" rIns="0" bIns="0" rtlCol="0" anchor="ctr">
            <a:normAutofit fontScale="97500"/>
          </a:bodyPr>
          <a:lstStyle>
            <a:lvl1pPr>
              <a:lnSpc>
                <a:spcPct val="90000"/>
              </a:lnSpc>
              <a:spcBef>
                <a:spcPct val="0"/>
              </a:spcBef>
              <a:buNone/>
              <a:defRPr sz="3200" cap="none" baseline="0">
                <a:solidFill>
                  <a:schemeClr val="tx2"/>
                </a:solidFill>
                <a:latin typeface="+mj-lt"/>
                <a:ea typeface="+mj-ea"/>
                <a:cs typeface="+mj-cs"/>
              </a:defRPr>
            </a:lvl1pPr>
          </a:lstStyle>
          <a:p>
            <a:r>
              <a:rPr lang="en-GB" dirty="0">
                <a:solidFill>
                  <a:srgbClr val="002060"/>
                </a:solidFill>
                <a:latin typeface="Bebas Kai" panose="020B0604020202020204" charset="0"/>
                <a:cs typeface="Bebas Kai" panose="020B0604020202020204" charset="0"/>
              </a:rPr>
              <a:t>Global Resources Outlook 2024 </a:t>
            </a:r>
          </a:p>
        </p:txBody>
      </p:sp>
      <p:pic>
        <p:nvPicPr>
          <p:cNvPr id="9" name="Picture 8">
            <a:extLst>
              <a:ext uri="{FF2B5EF4-FFF2-40B4-BE49-F238E27FC236}">
                <a16:creationId xmlns:a16="http://schemas.microsoft.com/office/drawing/2014/main" id="{3717C3D9-BF06-4CD2-5497-0DA5DEC03727}"/>
              </a:ext>
            </a:extLst>
          </p:cNvPr>
          <p:cNvPicPr>
            <a:picLocks noChangeAspect="1"/>
          </p:cNvPicPr>
          <p:nvPr/>
        </p:nvPicPr>
        <p:blipFill>
          <a:blip r:embed="rId6"/>
          <a:stretch>
            <a:fillRect/>
          </a:stretch>
        </p:blipFill>
        <p:spPr>
          <a:xfrm>
            <a:off x="1624891" y="1338667"/>
            <a:ext cx="3148013" cy="4451662"/>
          </a:xfrm>
          <a:prstGeom prst="rect">
            <a:avLst/>
          </a:prstGeom>
          <a:effectLst>
            <a:outerShdw blurRad="584200" dist="38100" dir="5580000" algn="tl" rotWithShape="0">
              <a:prstClr val="black">
                <a:alpha val="40000"/>
              </a:prstClr>
            </a:outerShdw>
          </a:effectLst>
        </p:spPr>
      </p:pic>
      <p:sp>
        <p:nvSpPr>
          <p:cNvPr id="11" name="TextBox 10">
            <a:extLst>
              <a:ext uri="{FF2B5EF4-FFF2-40B4-BE49-F238E27FC236}">
                <a16:creationId xmlns:a16="http://schemas.microsoft.com/office/drawing/2014/main" id="{303356CB-D8D2-4339-9A34-FD0BA455F19C}"/>
              </a:ext>
            </a:extLst>
          </p:cNvPr>
          <p:cNvSpPr txBox="1"/>
          <p:nvPr/>
        </p:nvSpPr>
        <p:spPr>
          <a:xfrm>
            <a:off x="5118099" y="1718540"/>
            <a:ext cx="6588991"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002060"/>
                </a:solidFill>
                <a:effectLst/>
                <a:uLnTx/>
                <a:uFillTx/>
                <a:latin typeface="Century Gothic" panose="020B0502020202020204" pitchFamily="34" charset="0"/>
              </a:rPr>
              <a:t>Bend the tre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1" u="none" strike="noStrike" kern="1200" cap="none" spc="0" normalizeH="0" baseline="0" noProof="0" dirty="0">
                <a:ln>
                  <a:noFill/>
                </a:ln>
                <a:solidFill>
                  <a:srgbClr val="002060"/>
                </a:solidFill>
                <a:effectLst/>
                <a:uLnTx/>
                <a:uFillTx/>
                <a:latin typeface="Century Gothic" panose="020B0502020202020204" pitchFamily="34" charset="0"/>
              </a:rPr>
              <a:t>Pathways to a liveable planet as resource use spikes</a:t>
            </a:r>
            <a:endParaRPr kumimoji="0" lang="en-GB" sz="2000" b="0" i="1" u="none" strike="noStrike" kern="1200" cap="none" spc="0" normalizeH="0" baseline="0" noProof="0" dirty="0">
              <a:ln>
                <a:noFill/>
              </a:ln>
              <a:solidFill>
                <a:srgbClr val="002060"/>
              </a:solidFill>
              <a:effectLst/>
              <a:uLnTx/>
              <a:uFillTx/>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Century Gothic" panose="020B0502020202020204" pitchFamily="34" charset="0"/>
              </a:rPr>
              <a:t>Download the report</a:t>
            </a:r>
          </a:p>
        </p:txBody>
      </p:sp>
      <p:sp>
        <p:nvSpPr>
          <p:cNvPr id="13" name="TextBox 12">
            <a:extLst>
              <a:ext uri="{FF2B5EF4-FFF2-40B4-BE49-F238E27FC236}">
                <a16:creationId xmlns:a16="http://schemas.microsoft.com/office/drawing/2014/main" id="{B16DA146-C492-998A-D66A-6550FBE21605}"/>
              </a:ext>
            </a:extLst>
          </p:cNvPr>
          <p:cNvSpPr txBox="1"/>
          <p:nvPr/>
        </p:nvSpPr>
        <p:spPr>
          <a:xfrm>
            <a:off x="1530933" y="5914007"/>
            <a:ext cx="100333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Calibri"/>
                <a:ea typeface="Roboto" panose="02000000000000000000" pitchFamily="2" charset="0"/>
                <a:cs typeface="Roboto" panose="02000000000000000000" pitchFamily="2" charset="0"/>
                <a:hlinkClick r:id="" action="ppaction://noaction"/>
              </a:rPr>
              <a:t>https://www.resourcepanel.org/reports/global-resources-outlook-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000000"/>
                </a:solidFill>
                <a:effectLst/>
                <a:uLnTx/>
                <a:uFillTx/>
                <a:latin typeface="Calibri"/>
                <a:ea typeface="Roboto" panose="02000000000000000000" pitchFamily="2" charset="0"/>
                <a:cs typeface="Roboto" panose="02000000000000000000" pitchFamily="2" charset="0"/>
                <a:hlinkClick r:id="" action="ppaction://noaction"/>
              </a:rPr>
              <a:t>https://www.unep.org/resources/Global-Resource-Outlook-2024</a:t>
            </a:r>
            <a:r>
              <a:rPr kumimoji="0" lang="en-GB" sz="1800" b="0" i="1" u="none" strike="noStrike" kern="1200" cap="none" spc="0" normalizeH="0" baseline="0" noProof="0" dirty="0">
                <a:ln>
                  <a:noFill/>
                </a:ln>
                <a:solidFill>
                  <a:srgbClr val="000000"/>
                </a:solidFill>
                <a:effectLst/>
                <a:uLnTx/>
                <a:uFillTx/>
                <a:latin typeface="Calibri"/>
                <a:ea typeface="Roboto" panose="02000000000000000000" pitchFamily="2" charset="0"/>
                <a:cs typeface="Roboto" panose="02000000000000000000" pitchFamily="2" charset="0"/>
              </a:rPr>
              <a:t> </a:t>
            </a:r>
          </a:p>
        </p:txBody>
      </p:sp>
      <p:pic>
        <p:nvPicPr>
          <p:cNvPr id="3" name="Picture 2" descr="A qr code with blue squares&#10;&#10;Description automatically generated">
            <a:extLst>
              <a:ext uri="{FF2B5EF4-FFF2-40B4-BE49-F238E27FC236}">
                <a16:creationId xmlns:a16="http://schemas.microsoft.com/office/drawing/2014/main" id="{4CE7EBA1-A5C0-A0E1-752D-3D22ABE875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69284" y="3195868"/>
            <a:ext cx="2486620" cy="2486620"/>
          </a:xfrm>
          <a:prstGeom prst="rect">
            <a:avLst/>
          </a:prstGeom>
        </p:spPr>
      </p:pic>
    </p:spTree>
    <p:extLst>
      <p:ext uri="{BB962C8B-B14F-4D97-AF65-F5344CB8AC3E}">
        <p14:creationId xmlns:p14="http://schemas.microsoft.com/office/powerpoint/2010/main" val="892833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179B2-06C3-CBA1-20FD-02055AB23806}"/>
              </a:ext>
            </a:extLst>
          </p:cNvPr>
          <p:cNvGraphicFramePr>
            <a:graphicFrameLocks noChangeAspect="1"/>
          </p:cNvGraphicFramePr>
          <p:nvPr>
            <p:custDataLst>
              <p:tags r:id="rId1"/>
            </p:custDataLst>
            <p:extLst>
              <p:ext uri="{D42A27DB-BD31-4B8C-83A1-F6EECF244321}">
                <p14:modId xmlns:p14="http://schemas.microsoft.com/office/powerpoint/2010/main" val="61308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think-cell data - do not delete" hidden="1">
                        <a:extLst>
                          <a:ext uri="{FF2B5EF4-FFF2-40B4-BE49-F238E27FC236}">
                            <a16:creationId xmlns:a16="http://schemas.microsoft.com/office/drawing/2014/main" id="{003179B2-06C3-CBA1-20FD-02055AB238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28C0FB0-8CC6-BC08-8293-9E3DD26FD422}"/>
              </a:ext>
            </a:extLst>
          </p:cNvPr>
          <p:cNvSpPr>
            <a:spLocks noGrp="1"/>
          </p:cNvSpPr>
          <p:nvPr>
            <p:ph type="sldNum" sz="quarter" idx="12"/>
          </p:nvPr>
        </p:nvSpPr>
        <p:spPr/>
        <p:txBody>
          <a:bodyPr/>
          <a:lstStyle/>
          <a:p>
            <a:fld id="{ABB6D191-819E-455F-BC39-F2381519C0C1}" type="slidenum">
              <a:rPr lang="en-GB" noProof="0" smtClean="0"/>
              <a:t>15</a:t>
            </a:fld>
            <a:endParaRPr lang="en-GB" noProof="0"/>
          </a:p>
        </p:txBody>
      </p:sp>
      <p:sp>
        <p:nvSpPr>
          <p:cNvPr id="7" name="TextBox 6">
            <a:extLst>
              <a:ext uri="{FF2B5EF4-FFF2-40B4-BE49-F238E27FC236}">
                <a16:creationId xmlns:a16="http://schemas.microsoft.com/office/drawing/2014/main" id="{C558ABA6-6774-A93F-41BD-FE94770BEDDD}"/>
              </a:ext>
            </a:extLst>
          </p:cNvPr>
          <p:cNvSpPr txBox="1"/>
          <p:nvPr/>
        </p:nvSpPr>
        <p:spPr>
          <a:xfrm>
            <a:off x="875212" y="2936557"/>
            <a:ext cx="7654834" cy="1107996"/>
          </a:xfrm>
          <a:prstGeom prst="rect">
            <a:avLst/>
          </a:prstGeom>
          <a:noFill/>
        </p:spPr>
        <p:txBody>
          <a:bodyPr wrap="square" lIns="0" tIns="0" rIns="0" bIns="0" rtlCol="0">
            <a:spAutoFit/>
          </a:bodyPr>
          <a:lstStyle/>
          <a:p>
            <a:pPr algn="l"/>
            <a:r>
              <a:rPr lang="en-GB" sz="3600" dirty="0">
                <a:solidFill>
                  <a:schemeClr val="bg1"/>
                </a:solidFill>
                <a:latin typeface="Arial Nova" panose="020B0504020202020204" pitchFamily="34" charset="0"/>
                <a:cs typeface="Arial" panose="020B0604020202020204" pitchFamily="34" charset="0"/>
              </a:rPr>
              <a:t>Thanks for your attention!</a:t>
            </a:r>
          </a:p>
          <a:p>
            <a:pPr algn="l"/>
            <a:endParaRPr lang="en-GB" sz="3600" dirty="0">
              <a:solidFill>
                <a:schemeClr val="bg1"/>
              </a:solidFill>
              <a:latin typeface="Arial Nova" panose="020B0504020202020204" pitchFamily="34" charset="0"/>
              <a:cs typeface="Arial" panose="020B0604020202020204" pitchFamily="34" charset="0"/>
            </a:endParaRPr>
          </a:p>
        </p:txBody>
      </p:sp>
    </p:spTree>
    <p:extLst>
      <p:ext uri="{BB962C8B-B14F-4D97-AF65-F5344CB8AC3E}">
        <p14:creationId xmlns:p14="http://schemas.microsoft.com/office/powerpoint/2010/main" val="2585402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1E3FF61-CED4-8520-1619-8A3E685008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7" name="think-cell data - do not delete" hidden="1">
                        <a:extLst>
                          <a:ext uri="{FF2B5EF4-FFF2-40B4-BE49-F238E27FC236}">
                            <a16:creationId xmlns:a16="http://schemas.microsoft.com/office/drawing/2014/main" id="{81E3FF61-CED4-8520-1619-8A3E685008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B9A6B4-75C9-5729-A20D-DB7DBAFCA322}"/>
              </a:ext>
            </a:extLst>
          </p:cNvPr>
          <p:cNvSpPr>
            <a:spLocks noGrp="1"/>
          </p:cNvSpPr>
          <p:nvPr>
            <p:ph type="title"/>
          </p:nvPr>
        </p:nvSpPr>
        <p:spPr/>
        <p:txBody>
          <a:bodyPr vert="horz">
            <a:normAutofit fontScale="90000"/>
          </a:bodyPr>
          <a:lstStyle/>
          <a:p>
            <a:r>
              <a:rPr lang="en-GB" dirty="0"/>
              <a:t>Resource use is rising (almost) faster than ever, while productivity stagnates</a:t>
            </a:r>
          </a:p>
        </p:txBody>
      </p:sp>
      <p:sp>
        <p:nvSpPr>
          <p:cNvPr id="5" name="Text Placeholder 4">
            <a:extLst>
              <a:ext uri="{FF2B5EF4-FFF2-40B4-BE49-F238E27FC236}">
                <a16:creationId xmlns:a16="http://schemas.microsoft.com/office/drawing/2014/main" id="{C32326A6-A0DC-7D99-445D-D08C133CEA69}"/>
              </a:ext>
            </a:extLst>
          </p:cNvPr>
          <p:cNvSpPr>
            <a:spLocks noGrp="1"/>
          </p:cNvSpPr>
          <p:nvPr>
            <p:ph type="body" sz="quarter" idx="13"/>
          </p:nvPr>
        </p:nvSpPr>
        <p:spPr>
          <a:xfrm>
            <a:off x="642795" y="6318940"/>
            <a:ext cx="9463189" cy="359672"/>
          </a:xfrm>
        </p:spPr>
        <p:txBody>
          <a:bodyPr/>
          <a:lstStyle/>
          <a:p>
            <a:r>
              <a:rPr lang="en-GB" dirty="0"/>
              <a:t>Source: International Resource Panel (2024), Global Resources Outlook 2024 (https://www.resourcepanel.org/reports/global-resources-outlook-2024)</a:t>
            </a:r>
          </a:p>
        </p:txBody>
      </p:sp>
      <p:graphicFrame>
        <p:nvGraphicFramePr>
          <p:cNvPr id="6" name="Chart 5">
            <a:extLst>
              <a:ext uri="{FF2B5EF4-FFF2-40B4-BE49-F238E27FC236}">
                <a16:creationId xmlns:a16="http://schemas.microsoft.com/office/drawing/2014/main" id="{7D8F5E67-6934-6E42-3D85-6C8F3CAFAB92}"/>
              </a:ext>
            </a:extLst>
          </p:cNvPr>
          <p:cNvGraphicFramePr>
            <a:graphicFrameLocks/>
          </p:cNvGraphicFramePr>
          <p:nvPr>
            <p:extLst>
              <p:ext uri="{D42A27DB-BD31-4B8C-83A1-F6EECF244321}">
                <p14:modId xmlns:p14="http://schemas.microsoft.com/office/powerpoint/2010/main" val="906061793"/>
              </p:ext>
            </p:extLst>
          </p:nvPr>
        </p:nvGraphicFramePr>
        <p:xfrm>
          <a:off x="465115" y="962386"/>
          <a:ext cx="8297886" cy="5200299"/>
        </p:xfrm>
        <a:graphic>
          <a:graphicData uri="http://schemas.openxmlformats.org/drawingml/2006/chart">
            <c:chart xmlns:c="http://schemas.openxmlformats.org/drawingml/2006/chart" xmlns:r="http://schemas.openxmlformats.org/officeDocument/2006/relationships" r:id="rId6"/>
          </a:graphicData>
        </a:graphic>
      </p:graphicFrame>
      <p:pic>
        <p:nvPicPr>
          <p:cNvPr id="1026" name="Picture 2">
            <a:extLst>
              <a:ext uri="{FF2B5EF4-FFF2-40B4-BE49-F238E27FC236}">
                <a16:creationId xmlns:a16="http://schemas.microsoft.com/office/drawing/2014/main" id="{0DCD9BA9-3F1A-7FE0-312C-0646B1B49A3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8282" t="78149" r="42575" b="3837"/>
          <a:stretch/>
        </p:blipFill>
        <p:spPr bwMode="auto">
          <a:xfrm>
            <a:off x="9449310" y="3718744"/>
            <a:ext cx="1260138" cy="96521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2782BBBE-ECEB-CCA4-1E67-949AFF2C880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4165" t="78149" r="30133" b="3837"/>
          <a:stretch/>
        </p:blipFill>
        <p:spPr bwMode="auto">
          <a:xfrm>
            <a:off x="9451530" y="2759210"/>
            <a:ext cx="1033589" cy="96521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C2B05D54-AF87-E61C-D5DB-99C6A00D2F57}"/>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pic>
        <p:nvPicPr>
          <p:cNvPr id="3" name="Picture 2">
            <a:extLst>
              <a:ext uri="{FF2B5EF4-FFF2-40B4-BE49-F238E27FC236}">
                <a16:creationId xmlns:a16="http://schemas.microsoft.com/office/drawing/2014/main" id="{6ED278D6-CC33-4853-0D0C-CE731223023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69587" t="78149" r="11269" b="3837"/>
          <a:stretch/>
        </p:blipFill>
        <p:spPr bwMode="auto">
          <a:xfrm>
            <a:off x="9451532" y="1691430"/>
            <a:ext cx="1260138" cy="96521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55568134-9664-AD5C-5CB5-361FC5FDA08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860" t="77878" r="61439" b="3837"/>
          <a:stretch/>
        </p:blipFill>
        <p:spPr bwMode="auto">
          <a:xfrm>
            <a:off x="9483967" y="4614984"/>
            <a:ext cx="1033589" cy="979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311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2028AA-F67C-C771-4F48-A9CBAC5FE3A5}"/>
              </a:ext>
            </a:extLst>
          </p:cNvPr>
          <p:cNvGraphicFramePr>
            <a:graphicFrameLocks noChangeAspect="1"/>
          </p:cNvGraphicFramePr>
          <p:nvPr>
            <p:custDataLst>
              <p:tags r:id="rId1"/>
            </p:custDataLst>
            <p:extLst>
              <p:ext uri="{D42A27DB-BD31-4B8C-83A1-F6EECF244321}">
                <p14:modId xmlns:p14="http://schemas.microsoft.com/office/powerpoint/2010/main" val="929021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2" imgH="254" progId="TCLayout.ActiveDocument.1">
                  <p:embed/>
                </p:oleObj>
              </mc:Choice>
              <mc:Fallback>
                <p:oleObj name="think-cell Slide" r:id="rId9" imgW="282" imgH="254" progId="TCLayout.ActiveDocument.1">
                  <p:embed/>
                  <p:pic>
                    <p:nvPicPr>
                      <p:cNvPr id="6" name="think-cell data - do not delete" hidden="1">
                        <a:extLst>
                          <a:ext uri="{FF2B5EF4-FFF2-40B4-BE49-F238E27FC236}">
                            <a16:creationId xmlns:a16="http://schemas.microsoft.com/office/drawing/2014/main" id="{542028AA-F67C-C771-4F48-A9CBAC5FE3A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83477A-B1DA-8F25-B4EB-98A0ACDEF332}"/>
              </a:ext>
            </a:extLst>
          </p:cNvPr>
          <p:cNvSpPr>
            <a:spLocks noGrp="1"/>
          </p:cNvSpPr>
          <p:nvPr>
            <p:ph type="title"/>
          </p:nvPr>
        </p:nvSpPr>
        <p:spPr/>
        <p:txBody>
          <a:bodyPr vert="horz"/>
          <a:lstStyle/>
          <a:p>
            <a:r>
              <a:rPr lang="en-GB" dirty="0"/>
              <a:t>Meanwhile, other productivities soar…</a:t>
            </a:r>
          </a:p>
        </p:txBody>
      </p:sp>
      <p:sp>
        <p:nvSpPr>
          <p:cNvPr id="5" name="Text Placeholder 4">
            <a:extLst>
              <a:ext uri="{FF2B5EF4-FFF2-40B4-BE49-F238E27FC236}">
                <a16:creationId xmlns:a16="http://schemas.microsoft.com/office/drawing/2014/main" id="{B2768262-FF3A-3C8D-3F35-0B11C045F872}"/>
              </a:ext>
            </a:extLst>
          </p:cNvPr>
          <p:cNvSpPr>
            <a:spLocks noGrp="1"/>
          </p:cNvSpPr>
          <p:nvPr>
            <p:ph type="body" sz="quarter" idx="13"/>
          </p:nvPr>
        </p:nvSpPr>
        <p:spPr>
          <a:xfrm>
            <a:off x="642795" y="6299649"/>
            <a:ext cx="9463189" cy="359672"/>
          </a:xfrm>
        </p:spPr>
        <p:txBody>
          <a:bodyPr/>
          <a:lstStyle/>
          <a:p>
            <a:r>
              <a:rPr lang="en-GB" dirty="0"/>
              <a:t>Source: International Resource Panel (2024), Global Resources Outlook 2024 (https://www.resourcepanel.org/reports/global-resources-outlook-2024)</a:t>
            </a:r>
          </a:p>
        </p:txBody>
      </p:sp>
      <p:graphicFrame>
        <p:nvGraphicFramePr>
          <p:cNvPr id="191" name="Chart 190">
            <a:extLst>
              <a:ext uri="{FF2B5EF4-FFF2-40B4-BE49-F238E27FC236}">
                <a16:creationId xmlns:a16="http://schemas.microsoft.com/office/drawing/2014/main" id="{C5446C00-E852-9CDE-1C37-CDB500834DCE}"/>
              </a:ext>
            </a:extLst>
          </p:cNvPr>
          <p:cNvGraphicFramePr/>
          <p:nvPr>
            <p:custDataLst>
              <p:tags r:id="rId2"/>
            </p:custDataLst>
            <p:extLst>
              <p:ext uri="{D42A27DB-BD31-4B8C-83A1-F6EECF244321}">
                <p14:modId xmlns:p14="http://schemas.microsoft.com/office/powerpoint/2010/main" val="2161971432"/>
              </p:ext>
            </p:extLst>
          </p:nvPr>
        </p:nvGraphicFramePr>
        <p:xfrm>
          <a:off x="2798763" y="1085850"/>
          <a:ext cx="5929312" cy="4935538"/>
        </p:xfrm>
        <a:graphic>
          <a:graphicData uri="http://schemas.openxmlformats.org/drawingml/2006/chart">
            <c:chart xmlns:c="http://schemas.openxmlformats.org/drawingml/2006/chart" xmlns:r="http://schemas.openxmlformats.org/officeDocument/2006/relationships" r:id="rId11"/>
          </a:graphicData>
        </a:graphic>
      </p:graphicFrame>
      <p:sp>
        <p:nvSpPr>
          <p:cNvPr id="160" name="Text Placeholder 2">
            <a:extLst>
              <a:ext uri="{FF2B5EF4-FFF2-40B4-BE49-F238E27FC236}">
                <a16:creationId xmlns:a16="http://schemas.microsoft.com/office/drawing/2014/main" id="{B926D567-524F-4499-A030-E098F89DCD34}"/>
              </a:ext>
            </a:extLst>
          </p:cNvPr>
          <p:cNvSpPr>
            <a:spLocks noGrp="1"/>
          </p:cNvSpPr>
          <p:nvPr>
            <p:custDataLst>
              <p:tags r:id="rId3"/>
            </p:custDataLst>
          </p:nvPr>
        </p:nvSpPr>
        <p:spPr bwMode="auto">
          <a:xfrm>
            <a:off x="8382000" y="3587750"/>
            <a:ext cx="825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A5C1CA-E0EE-4218-9169-B24A2ACFD5BE}" type="datetime'''M''''''''ate''''''''''r''''''''''ial''''s '''''''''''">
              <a:rPr lang="en-GB" altLang="en-US" sz="1400" smtClean="0">
                <a:effectLst/>
              </a:rPr>
              <a:pPr marL="0" lvl="0" indent="0">
                <a:spcBef>
                  <a:spcPct val="0"/>
                </a:spcBef>
                <a:spcAft>
                  <a:spcPct val="0"/>
                </a:spcAft>
                <a:buNone/>
              </a:pPr>
              <a:t>Materials </a:t>
            </a:fld>
            <a:endParaRPr lang="en-GB" sz="1400" noProof="0" dirty="0"/>
          </a:p>
        </p:txBody>
      </p:sp>
      <p:sp>
        <p:nvSpPr>
          <p:cNvPr id="161" name="Text Placeholder 2">
            <a:extLst>
              <a:ext uri="{FF2B5EF4-FFF2-40B4-BE49-F238E27FC236}">
                <a16:creationId xmlns:a16="http://schemas.microsoft.com/office/drawing/2014/main" id="{B926D567-524F-4499-A030-E098F89DCD34}"/>
              </a:ext>
            </a:extLst>
          </p:cNvPr>
          <p:cNvSpPr>
            <a:spLocks noGrp="1"/>
          </p:cNvSpPr>
          <p:nvPr>
            <p:custDataLst>
              <p:tags r:id="rId4"/>
            </p:custDataLst>
          </p:nvPr>
        </p:nvSpPr>
        <p:spPr bwMode="auto">
          <a:xfrm>
            <a:off x="8382000" y="2551113"/>
            <a:ext cx="482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629E435-C5D9-4AFC-A85B-B46F8EA3BC3F}" type="datetime'''''''''''''''''G''''''''''HG'''''''''''''''''''''''''''' '">
              <a:rPr lang="en-GB" altLang="en-US" sz="1400" smtClean="0">
                <a:effectLst/>
              </a:rPr>
              <a:pPr marL="0" lvl="0" indent="0">
                <a:spcBef>
                  <a:spcPct val="0"/>
                </a:spcBef>
                <a:spcAft>
                  <a:spcPct val="0"/>
                </a:spcAft>
                <a:buNone/>
              </a:pPr>
              <a:t>GHG </a:t>
            </a:fld>
            <a:endParaRPr lang="en-GB" sz="1400" noProof="0" dirty="0"/>
          </a:p>
        </p:txBody>
      </p:sp>
      <p:sp>
        <p:nvSpPr>
          <p:cNvPr id="162" name="Text Placeholder 2">
            <a:extLst>
              <a:ext uri="{FF2B5EF4-FFF2-40B4-BE49-F238E27FC236}">
                <a16:creationId xmlns:a16="http://schemas.microsoft.com/office/drawing/2014/main" id="{B926D567-524F-4499-A030-E098F89DCD34}"/>
              </a:ext>
            </a:extLst>
          </p:cNvPr>
          <p:cNvSpPr>
            <a:spLocks noGrp="1"/>
          </p:cNvSpPr>
          <p:nvPr>
            <p:custDataLst>
              <p:tags r:id="rId5"/>
            </p:custDataLst>
          </p:nvPr>
        </p:nvSpPr>
        <p:spPr bwMode="auto">
          <a:xfrm>
            <a:off x="8382000" y="3286125"/>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9AD6F84-DE71-49CE-8A8A-8E99094F55C4}" type="datetime'E''''''''''''n''''e''''''rg''''''''''''''y'''''''''''''">
              <a:rPr lang="en-GB" altLang="en-US" sz="1400" smtClean="0">
                <a:effectLst/>
              </a:rPr>
              <a:pPr marL="0" lvl="0" indent="0">
                <a:spcBef>
                  <a:spcPct val="0"/>
                </a:spcBef>
                <a:spcAft>
                  <a:spcPct val="0"/>
                </a:spcAft>
                <a:buNone/>
              </a:pPr>
              <a:t>Energy</a:t>
            </a:fld>
            <a:endParaRPr lang="en-GB" sz="1400" noProof="0" dirty="0"/>
          </a:p>
        </p:txBody>
      </p:sp>
      <p:sp>
        <p:nvSpPr>
          <p:cNvPr id="163" name="Text Placeholder 2">
            <a:extLst>
              <a:ext uri="{FF2B5EF4-FFF2-40B4-BE49-F238E27FC236}">
                <a16:creationId xmlns:a16="http://schemas.microsoft.com/office/drawing/2014/main" id="{B926D567-524F-4499-A030-E098F89DCD34}"/>
              </a:ext>
            </a:extLst>
          </p:cNvPr>
          <p:cNvSpPr>
            <a:spLocks noGrp="1"/>
          </p:cNvSpPr>
          <p:nvPr>
            <p:custDataLst>
              <p:tags r:id="rId6"/>
            </p:custDataLst>
          </p:nvPr>
        </p:nvSpPr>
        <p:spPr bwMode="auto">
          <a:xfrm>
            <a:off x="8382000" y="1292225"/>
            <a:ext cx="603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850E5C-0E2E-4518-8158-6C7BAF439135}" type="datetime'''L''''a''b''''''''''''''ou''''''r'''''''''''''''''''''''''''">
              <a:rPr lang="en-GB" altLang="en-US" sz="1400" smtClean="0">
                <a:effectLst/>
              </a:rPr>
              <a:pPr marL="0" lvl="0" indent="0">
                <a:spcBef>
                  <a:spcPct val="0"/>
                </a:spcBef>
                <a:spcAft>
                  <a:spcPct val="0"/>
                </a:spcAft>
                <a:buNone/>
              </a:pPr>
              <a:t>Labour</a:t>
            </a:fld>
            <a:endParaRPr lang="en-GB" sz="1400" noProof="0" dirty="0"/>
          </a:p>
        </p:txBody>
      </p:sp>
      <p:sp>
        <p:nvSpPr>
          <p:cNvPr id="192" name="TextBox 191">
            <a:extLst>
              <a:ext uri="{FF2B5EF4-FFF2-40B4-BE49-F238E27FC236}">
                <a16:creationId xmlns:a16="http://schemas.microsoft.com/office/drawing/2014/main" id="{18E204C6-EBE6-5A86-14A4-12CCC3BF99ED}"/>
              </a:ext>
            </a:extLst>
          </p:cNvPr>
          <p:cNvSpPr txBox="1"/>
          <p:nvPr/>
        </p:nvSpPr>
        <p:spPr>
          <a:xfrm rot="16200000">
            <a:off x="1542256" y="2860751"/>
            <a:ext cx="1886239" cy="169277"/>
          </a:xfrm>
          <a:prstGeom prst="rect">
            <a:avLst/>
          </a:prstGeom>
          <a:noFill/>
        </p:spPr>
        <p:txBody>
          <a:bodyPr wrap="square" lIns="0" tIns="0" rIns="0" bIns="0" rtlCol="0">
            <a:spAutoFit/>
          </a:bodyPr>
          <a:lstStyle/>
          <a:p>
            <a:pPr algn="l"/>
            <a:r>
              <a:rPr lang="en-GB" sz="1100" dirty="0">
                <a:solidFill>
                  <a:schemeClr val="accent5"/>
                </a:solidFill>
              </a:rPr>
              <a:t>Index, 1970 = 1</a:t>
            </a:r>
          </a:p>
        </p:txBody>
      </p:sp>
      <p:sp>
        <p:nvSpPr>
          <p:cNvPr id="193" name="Rectangle 192">
            <a:extLst>
              <a:ext uri="{FF2B5EF4-FFF2-40B4-BE49-F238E27FC236}">
                <a16:creationId xmlns:a16="http://schemas.microsoft.com/office/drawing/2014/main" id="{7A231CAE-62A6-6D0D-C2A4-36465A9DD586}"/>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6181226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99A7B40-21ED-2BEF-A6E1-6925A1ED7D33}"/>
              </a:ext>
            </a:extLst>
          </p:cNvPr>
          <p:cNvGraphicFramePr>
            <a:graphicFrameLocks noChangeAspect="1"/>
          </p:cNvGraphicFramePr>
          <p:nvPr>
            <p:custDataLst>
              <p:tags r:id="rId1"/>
            </p:custDataLst>
            <p:extLst>
              <p:ext uri="{D42A27DB-BD31-4B8C-83A1-F6EECF244321}">
                <p14:modId xmlns:p14="http://schemas.microsoft.com/office/powerpoint/2010/main" val="13310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8" imgH="278" progId="TCLayout.ActiveDocument.1">
                  <p:embed/>
                </p:oleObj>
              </mc:Choice>
              <mc:Fallback>
                <p:oleObj name="think-cell Slide" r:id="rId16" imgW="278" imgH="278" progId="TCLayout.ActiveDocument.1">
                  <p:embed/>
                  <p:pic>
                    <p:nvPicPr>
                      <p:cNvPr id="7" name="think-cell data - do not delete" hidden="1">
                        <a:extLst>
                          <a:ext uri="{FF2B5EF4-FFF2-40B4-BE49-F238E27FC236}">
                            <a16:creationId xmlns:a16="http://schemas.microsoft.com/office/drawing/2014/main" id="{799A7B40-21ED-2BEF-A6E1-6925A1ED7D3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13EDFE-956E-6069-6327-85346EF4AA82}"/>
              </a:ext>
            </a:extLst>
          </p:cNvPr>
          <p:cNvSpPr>
            <a:spLocks noGrp="1"/>
          </p:cNvSpPr>
          <p:nvPr>
            <p:ph type="title"/>
          </p:nvPr>
        </p:nvSpPr>
        <p:spPr/>
        <p:txBody>
          <a:bodyPr vert="horz">
            <a:normAutofit fontScale="90000"/>
          </a:bodyPr>
          <a:lstStyle/>
          <a:p>
            <a:r>
              <a:rPr lang="en-US" dirty="0"/>
              <a:t>High-income countries use six times more materials per capita than low-income countries…</a:t>
            </a:r>
            <a:endParaRPr lang="en-GB" dirty="0"/>
          </a:p>
        </p:txBody>
      </p:sp>
      <p:sp>
        <p:nvSpPr>
          <p:cNvPr id="47" name="Google Shape;153;p55">
            <a:extLst>
              <a:ext uri="{FF2B5EF4-FFF2-40B4-BE49-F238E27FC236}">
                <a16:creationId xmlns:a16="http://schemas.microsoft.com/office/drawing/2014/main" id="{4DD5B67D-D2A6-DFA7-C257-BBC5ADDD62EF}"/>
              </a:ext>
            </a:extLst>
          </p:cNvPr>
          <p:cNvSpPr>
            <a:spLocks/>
          </p:cNvSpPr>
          <p:nvPr/>
        </p:nvSpPr>
        <p:spPr>
          <a:xfrm>
            <a:off x="2172568" y="1037776"/>
            <a:ext cx="6361831" cy="439738"/>
          </a:xfrm>
          <a:prstGeom prst="rect">
            <a:avLst/>
          </a:prstGeom>
          <a:solidFill>
            <a:schemeClr val="bg2"/>
          </a:solidFill>
          <a:ln>
            <a:noFill/>
          </a:ln>
        </p:spPr>
        <p:txBody>
          <a:bodyPr spcFirstLastPara="1" wrap="square" lIns="90000" tIns="90000" rIns="90000" bIns="900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585854"/>
                </a:solidFill>
                <a:effectLst/>
                <a:uLnTx/>
                <a:uFillTx/>
                <a:latin typeface="Century Gothic" panose="020B0502020202020204" pitchFamily="34" charset="0"/>
                <a:ea typeface="Arial"/>
                <a:cs typeface="Arial"/>
                <a:sym typeface="Arial"/>
              </a:rPr>
              <a:t>Material footprint (total and per capita) by income group</a:t>
            </a:r>
          </a:p>
        </p:txBody>
      </p:sp>
      <p:graphicFrame>
        <p:nvGraphicFramePr>
          <p:cNvPr id="4" name="Chart 3">
            <a:extLst>
              <a:ext uri="{FF2B5EF4-FFF2-40B4-BE49-F238E27FC236}">
                <a16:creationId xmlns:a16="http://schemas.microsoft.com/office/drawing/2014/main" id="{6AAFA536-4104-DEBE-12BC-6FFE2FB72E9D}"/>
              </a:ext>
            </a:extLst>
          </p:cNvPr>
          <p:cNvGraphicFramePr/>
          <p:nvPr>
            <p:custDataLst>
              <p:tags r:id="rId2"/>
            </p:custDataLst>
          </p:nvPr>
        </p:nvGraphicFramePr>
        <p:xfrm>
          <a:off x="2090738" y="1585913"/>
          <a:ext cx="7431087" cy="3211512"/>
        </p:xfrm>
        <a:graphic>
          <a:graphicData uri="http://schemas.openxmlformats.org/drawingml/2006/chart">
            <c:chart xmlns:c="http://schemas.openxmlformats.org/drawingml/2006/chart" xmlns:r="http://schemas.openxmlformats.org/officeDocument/2006/relationships" r:id="rId18"/>
          </a:graphicData>
        </a:graphic>
      </p:graphicFrame>
      <p:sp>
        <p:nvSpPr>
          <p:cNvPr id="53" name="Google Shape;11;p20">
            <a:extLst>
              <a:ext uri="{FF2B5EF4-FFF2-40B4-BE49-F238E27FC236}">
                <a16:creationId xmlns:a16="http://schemas.microsoft.com/office/drawing/2014/main" id="{9D7A4E2B-F8D9-15CD-AB72-F1CC382D35EF}"/>
              </a:ext>
            </a:extLst>
          </p:cNvPr>
          <p:cNvSpPr txBox="1">
            <a:spLocks noGrp="1"/>
          </p:cNvSpPr>
          <p:nvPr>
            <p:custDataLst>
              <p:tags r:id="rId3"/>
            </p:custDataLst>
          </p:nvPr>
        </p:nvSpPr>
        <p:spPr bwMode="auto">
          <a:xfrm>
            <a:off x="1820863" y="2506663"/>
            <a:ext cx="244475" cy="13684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en-US" altLang="en-US" sz="1600" b="1" i="0" u="none" strike="noStrike" kern="1200" cap="none" spc="0" normalizeH="0" baseline="0" noProof="0" dirty="0">
                <a:ln>
                  <a:noFill/>
                </a:ln>
                <a:solidFill>
                  <a:srgbClr val="000000"/>
                </a:solidFill>
                <a:effectLst/>
                <a:uLnTx/>
                <a:uFillTx/>
                <a:latin typeface="Arial"/>
                <a:ea typeface="+mn-ea"/>
                <a:cs typeface="Arial"/>
                <a:sym typeface="Arial"/>
              </a:rPr>
              <a:t>Million </a:t>
            </a:r>
            <a:r>
              <a:rPr kumimoji="0" lang="en-US" altLang="en-US" sz="1600" b="1" i="0" u="none" strike="noStrike" kern="1200" cap="none" spc="0" normalizeH="0" baseline="0" noProof="0" dirty="0" err="1">
                <a:ln>
                  <a:noFill/>
                </a:ln>
                <a:solidFill>
                  <a:srgbClr val="000000"/>
                </a:solidFill>
                <a:effectLst/>
                <a:uLnTx/>
                <a:uFillTx/>
                <a:latin typeface="Arial"/>
                <a:ea typeface="+mn-ea"/>
                <a:cs typeface="Arial"/>
                <a:sym typeface="Arial"/>
              </a:rPr>
              <a:t>tonnes</a:t>
            </a:r>
            <a:endParaRPr kumimoji="0" lang="en-US" sz="1600"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4" name="Google Shape;11;p20">
            <a:extLst>
              <a:ext uri="{FF2B5EF4-FFF2-40B4-BE49-F238E27FC236}">
                <a16:creationId xmlns:a16="http://schemas.microsoft.com/office/drawing/2014/main" id="{7F6D9D7C-6B75-56CA-0B7C-40226DEA6962}"/>
              </a:ext>
            </a:extLst>
          </p:cNvPr>
          <p:cNvSpPr txBox="1">
            <a:spLocks noGrp="1"/>
          </p:cNvSpPr>
          <p:nvPr>
            <p:custDataLst>
              <p:tags r:id="rId4"/>
            </p:custDataLst>
          </p:nvPr>
        </p:nvSpPr>
        <p:spPr bwMode="auto">
          <a:xfrm>
            <a:off x="9547225" y="2328863"/>
            <a:ext cx="244475" cy="17240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eaVert"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en-US" altLang="en-US" sz="1600" b="1" i="0" u="none" strike="noStrike" kern="1200" cap="none" spc="0" normalizeH="0" baseline="0" noProof="0" dirty="0" err="1">
                <a:ln>
                  <a:noFill/>
                </a:ln>
                <a:solidFill>
                  <a:srgbClr val="000000"/>
                </a:solidFill>
                <a:effectLst/>
                <a:uLnTx/>
                <a:uFillTx/>
                <a:latin typeface="Arial"/>
                <a:ea typeface="+mn-ea"/>
                <a:cs typeface="Arial"/>
                <a:sym typeface="Arial"/>
              </a:rPr>
              <a:t>Tonnes</a:t>
            </a:r>
            <a:r>
              <a:rPr kumimoji="0" lang="en-US" altLang="en-US" sz="1600" b="1" i="0" u="none" strike="noStrike" kern="1200" cap="none" spc="0" normalizeH="0" baseline="0" noProof="0" dirty="0">
                <a:ln>
                  <a:noFill/>
                </a:ln>
                <a:solidFill>
                  <a:srgbClr val="000000"/>
                </a:solidFill>
                <a:effectLst/>
                <a:uLnTx/>
                <a:uFillTx/>
                <a:latin typeface="Arial"/>
                <a:ea typeface="+mn-ea"/>
                <a:cs typeface="Arial"/>
                <a:sym typeface="Arial"/>
              </a:rPr>
              <a:t> per capita</a:t>
            </a:r>
            <a:endParaRPr kumimoji="0" lang="en-US" sz="1600"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5" name="Google Shape;11;p20">
            <a:extLst>
              <a:ext uri="{FF2B5EF4-FFF2-40B4-BE49-F238E27FC236}">
                <a16:creationId xmlns:a16="http://schemas.microsoft.com/office/drawing/2014/main" id="{EEBE9FA8-1100-556D-7FBA-AA98CF55735D}"/>
              </a:ext>
            </a:extLst>
          </p:cNvPr>
          <p:cNvSpPr txBox="1">
            <a:spLocks noGrp="1"/>
          </p:cNvSpPr>
          <p:nvPr>
            <p:custDataLst>
              <p:tags r:id="rId5"/>
            </p:custDataLst>
          </p:nvPr>
        </p:nvSpPr>
        <p:spPr bwMode="auto">
          <a:xfrm>
            <a:off x="3195638" y="4630738"/>
            <a:ext cx="10953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C5F45348-1EA5-48EE-8A46-4CF817C04E12}" type="datetime'''L''''''''''o''''w'''''' ''i''''''''''''''''''''''n''com''e'">
              <a:rPr kumimoji="0" lang="en-US"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Low income</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6" name="Google Shape;11;p20">
            <a:extLst>
              <a:ext uri="{FF2B5EF4-FFF2-40B4-BE49-F238E27FC236}">
                <a16:creationId xmlns:a16="http://schemas.microsoft.com/office/drawing/2014/main" id="{34B8F799-436A-129D-0C06-4C4DBBCEED21}"/>
              </a:ext>
            </a:extLst>
          </p:cNvPr>
          <p:cNvSpPr txBox="1">
            <a:spLocks noGrp="1"/>
          </p:cNvSpPr>
          <p:nvPr>
            <p:custDataLst>
              <p:tags r:id="rId6"/>
            </p:custDataLst>
          </p:nvPr>
        </p:nvSpPr>
        <p:spPr bwMode="auto">
          <a:xfrm>
            <a:off x="4567238" y="4630738"/>
            <a:ext cx="666750" cy="7334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DD6D62F7-46C2-445B-AB65-00D252DC3B6E}" type="datetime'''''''L''ow''er&#10;''m''idd''''le&#10;i''''''''''n''''c''o''m''''e'">
              <a:rPr kumimoji="0" lang="en-US"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Lower
middle
income</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7" name="Google Shape;11;p20">
            <a:extLst>
              <a:ext uri="{FF2B5EF4-FFF2-40B4-BE49-F238E27FC236}">
                <a16:creationId xmlns:a16="http://schemas.microsoft.com/office/drawing/2014/main" id="{BF541864-B679-03F0-2311-5B1EA0FD38A5}"/>
              </a:ext>
            </a:extLst>
          </p:cNvPr>
          <p:cNvSpPr txBox="1">
            <a:spLocks noGrp="1"/>
          </p:cNvSpPr>
          <p:nvPr>
            <p:custDataLst>
              <p:tags r:id="rId7"/>
            </p:custDataLst>
          </p:nvPr>
        </p:nvSpPr>
        <p:spPr bwMode="auto">
          <a:xfrm>
            <a:off x="5726113" y="4630738"/>
            <a:ext cx="666750" cy="7334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A761C1C1-37BA-4900-BE95-600F2509EBDD}" type="datetime'U''ppe''r ''&#10;''mid''''d''l''''e''&#10;i''''''nc''''''o''m''e'">
              <a:rPr kumimoji="0" lang="en-US"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Upper 
middle
income</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8" name="Google Shape;11;p20">
            <a:extLst>
              <a:ext uri="{FF2B5EF4-FFF2-40B4-BE49-F238E27FC236}">
                <a16:creationId xmlns:a16="http://schemas.microsoft.com/office/drawing/2014/main" id="{DFC606FE-932E-3CD8-2C8C-63C2598DD11A}"/>
              </a:ext>
            </a:extLst>
          </p:cNvPr>
          <p:cNvSpPr txBox="1">
            <a:spLocks noGrp="1"/>
          </p:cNvSpPr>
          <p:nvPr>
            <p:custDataLst>
              <p:tags r:id="rId8"/>
            </p:custDataLst>
          </p:nvPr>
        </p:nvSpPr>
        <p:spPr bwMode="auto">
          <a:xfrm>
            <a:off x="6883400" y="4630738"/>
            <a:ext cx="666750" cy="4889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A6AC3B4B-5EF1-4109-BE1E-A06577EE17C8}" type="datetime'''''H''''''ig''''''''''''h&#10;''''in''''''''c''om''''e'''''''''''">
              <a:rPr kumimoji="0" lang="en-US"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High
income</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9" name="Google Shape;11;p20">
            <a:extLst>
              <a:ext uri="{FF2B5EF4-FFF2-40B4-BE49-F238E27FC236}">
                <a16:creationId xmlns:a16="http://schemas.microsoft.com/office/drawing/2014/main" id="{75639629-C152-7BD0-4F03-E9FA3736A94B}"/>
              </a:ext>
            </a:extLst>
          </p:cNvPr>
          <p:cNvSpPr txBox="1">
            <a:spLocks noGrp="1"/>
          </p:cNvSpPr>
          <p:nvPr>
            <p:custDataLst>
              <p:tags r:id="rId9"/>
            </p:custDataLst>
          </p:nvPr>
        </p:nvSpPr>
        <p:spPr bwMode="auto">
          <a:xfrm>
            <a:off x="8105775" y="4630738"/>
            <a:ext cx="5397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842F27F7-A5D0-4B98-B3C4-A3B1AE5A8562}" type="datetime'''''''''''''''''W''o''''''''''''r''l''''''''''''''''d'">
              <a:rPr kumimoji="0" lang="en-US"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World</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60" name="Rectangle 59">
            <a:extLst>
              <a:ext uri="{FF2B5EF4-FFF2-40B4-BE49-F238E27FC236}">
                <a16:creationId xmlns:a16="http://schemas.microsoft.com/office/drawing/2014/main" id="{77E4058E-7D5A-6678-CD35-F65DCB947080}"/>
              </a:ext>
            </a:extLst>
          </p:cNvPr>
          <p:cNvSpPr/>
          <p:nvPr>
            <p:custDataLst>
              <p:tags r:id="rId10"/>
            </p:custDataLst>
          </p:nvPr>
        </p:nvSpPr>
        <p:spPr bwMode="auto">
          <a:xfrm>
            <a:off x="4779963" y="5599113"/>
            <a:ext cx="285750" cy="214313"/>
          </a:xfrm>
          <a:prstGeom prst="rect">
            <a:avLst/>
          </a:prstGeom>
          <a:solidFill>
            <a:schemeClr val="tx2"/>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1" name="Rectangle 60">
            <a:extLst>
              <a:ext uri="{FF2B5EF4-FFF2-40B4-BE49-F238E27FC236}">
                <a16:creationId xmlns:a16="http://schemas.microsoft.com/office/drawing/2014/main" id="{5433486C-4CBB-16A8-B389-1265CBD4C7B1}"/>
              </a:ext>
            </a:extLst>
          </p:cNvPr>
          <p:cNvSpPr/>
          <p:nvPr>
            <p:custDataLst>
              <p:tags r:id="rId11"/>
            </p:custDataLst>
          </p:nvPr>
        </p:nvSpPr>
        <p:spPr bwMode="auto">
          <a:xfrm>
            <a:off x="5668963" y="5599113"/>
            <a:ext cx="285750" cy="214313"/>
          </a:xfrm>
          <a:prstGeom prst="rect">
            <a:avLst/>
          </a:prstGeom>
          <a:solidFill>
            <a:schemeClr val="accent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2" name="Google Shape;11;p20">
            <a:extLst>
              <a:ext uri="{FF2B5EF4-FFF2-40B4-BE49-F238E27FC236}">
                <a16:creationId xmlns:a16="http://schemas.microsoft.com/office/drawing/2014/main" id="{F154C709-89C7-66AB-C11E-8B382B864035}"/>
              </a:ext>
            </a:extLst>
          </p:cNvPr>
          <p:cNvSpPr txBox="1">
            <a:spLocks noGrp="1"/>
          </p:cNvSpPr>
          <p:nvPr>
            <p:custDataLst>
              <p:tags r:id="rId12"/>
            </p:custDataLst>
          </p:nvPr>
        </p:nvSpPr>
        <p:spPr bwMode="auto">
          <a:xfrm>
            <a:off x="5116513" y="5592763"/>
            <a:ext cx="4508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084FAE92-C590-43D3-965B-103F50A25D83}" type="datetime'''''''''''''''''''''''''''''''''''2''''''''''''000'''''''''''">
              <a:rPr kumimoji="0" lang="en-GB"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2000</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63" name="Google Shape;11;p20">
            <a:extLst>
              <a:ext uri="{FF2B5EF4-FFF2-40B4-BE49-F238E27FC236}">
                <a16:creationId xmlns:a16="http://schemas.microsoft.com/office/drawing/2014/main" id="{5E7FB014-8C90-E36A-4732-0695D1741105}"/>
              </a:ext>
            </a:extLst>
          </p:cNvPr>
          <p:cNvSpPr txBox="1">
            <a:spLocks noGrp="1"/>
          </p:cNvSpPr>
          <p:nvPr>
            <p:custDataLst>
              <p:tags r:id="rId13"/>
            </p:custDataLst>
          </p:nvPr>
        </p:nvSpPr>
        <p:spPr bwMode="auto">
          <a:xfrm>
            <a:off x="6005513" y="5592763"/>
            <a:ext cx="4508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31D65F50-0BFE-4663-8BAB-8147B7AAAF33}" type="datetime'2''''0''''''''''''''''''''''''''''''''2''0'''''''''''''''''''">
              <a:rPr kumimoji="0" lang="en-GB" altLang="en-US" sz="1600" b="0" i="0" u="none" strike="noStrike" kern="120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2020</a:t>
            </a:fld>
            <a:endParaRPr kumimoji="0" lang="en-US" sz="1600" b="0" i="0" u="none" strike="noStrike" kern="1200" cap="none" spc="0" normalizeH="0" baseline="0" noProof="0" dirty="0">
              <a:ln>
                <a:noFill/>
              </a:ln>
              <a:solidFill>
                <a:srgbClr val="000000"/>
              </a:solidFill>
              <a:effectLst/>
              <a:uLnTx/>
              <a:uFillTx/>
              <a:latin typeface="Arial"/>
              <a:ea typeface="+mn-ea"/>
              <a:cs typeface="Arial"/>
              <a:sym typeface="Arial"/>
            </a:endParaRPr>
          </a:p>
        </p:txBody>
      </p:sp>
      <p:grpSp>
        <p:nvGrpSpPr>
          <p:cNvPr id="64" name="Group 63">
            <a:extLst>
              <a:ext uri="{FF2B5EF4-FFF2-40B4-BE49-F238E27FC236}">
                <a16:creationId xmlns:a16="http://schemas.microsoft.com/office/drawing/2014/main" id="{88C553D0-39B9-5A74-1E70-62212B417524}"/>
              </a:ext>
            </a:extLst>
          </p:cNvPr>
          <p:cNvGrpSpPr/>
          <p:nvPr/>
        </p:nvGrpSpPr>
        <p:grpSpPr>
          <a:xfrm>
            <a:off x="6659563" y="5545138"/>
            <a:ext cx="1506538" cy="338138"/>
            <a:chOff x="5130370" y="5720196"/>
            <a:chExt cx="1505380" cy="338554"/>
          </a:xfrm>
        </p:grpSpPr>
        <p:sp>
          <p:nvSpPr>
            <p:cNvPr id="65" name="TextBox 64">
              <a:extLst>
                <a:ext uri="{FF2B5EF4-FFF2-40B4-BE49-F238E27FC236}">
                  <a16:creationId xmlns:a16="http://schemas.microsoft.com/office/drawing/2014/main" id="{25D273D9-DDAC-B7EE-B9A7-2E2A49D1745F}"/>
                </a:ext>
              </a:extLst>
            </p:cNvPr>
            <p:cNvSpPr txBox="1"/>
            <p:nvPr/>
          </p:nvSpPr>
          <p:spPr>
            <a:xfrm>
              <a:off x="5470701" y="5720196"/>
              <a:ext cx="1165049" cy="338554"/>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prstClr val="black"/>
                  </a:solidFill>
                  <a:effectLst/>
                  <a:uLnTx/>
                  <a:uFillTx/>
                  <a:latin typeface="Arial"/>
                  <a:ea typeface="Roboto" charset="0"/>
                  <a:cs typeface="Roboto" charset="0"/>
                  <a:sym typeface="Arial"/>
                </a:rPr>
                <a:t>Per capita </a:t>
              </a:r>
              <a:endParaRPr kumimoji="0" lang="en-US" sz="16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66" name="Oval 65">
              <a:extLst>
                <a:ext uri="{FF2B5EF4-FFF2-40B4-BE49-F238E27FC236}">
                  <a16:creationId xmlns:a16="http://schemas.microsoft.com/office/drawing/2014/main" id="{BEB4BEEA-7630-8FDE-042B-8943AB9AE38C}"/>
                </a:ext>
              </a:extLst>
            </p:cNvPr>
            <p:cNvSpPr>
              <a:spLocks noChangeAspect="1"/>
            </p:cNvSpPr>
            <p:nvPr/>
          </p:nvSpPr>
          <p:spPr>
            <a:xfrm>
              <a:off x="5130370" y="5733695"/>
              <a:ext cx="316800" cy="316800"/>
            </a:xfrm>
            <a:prstGeom prst="ellipse">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solidFill>
                  <a:srgbClr val="00146D"/>
                </a:solidFill>
                <a:effectLst/>
                <a:uLnTx/>
                <a:uFillTx/>
                <a:latin typeface="Arial"/>
                <a:ea typeface="+mn-ea"/>
                <a:cs typeface="+mn-cs"/>
                <a:sym typeface="Arial"/>
              </a:endParaRPr>
            </a:p>
          </p:txBody>
        </p:sp>
      </p:grpSp>
      <p:sp>
        <p:nvSpPr>
          <p:cNvPr id="67" name="Oval 66">
            <a:extLst>
              <a:ext uri="{FF2B5EF4-FFF2-40B4-BE49-F238E27FC236}">
                <a16:creationId xmlns:a16="http://schemas.microsoft.com/office/drawing/2014/main" id="{64BD1CE1-37DE-3D5F-1435-75777575593A}"/>
              </a:ext>
            </a:extLst>
          </p:cNvPr>
          <p:cNvSpPr>
            <a:spLocks noChangeAspect="1"/>
          </p:cNvSpPr>
          <p:nvPr/>
        </p:nvSpPr>
        <p:spPr>
          <a:xfrm>
            <a:off x="8409856" y="3462759"/>
            <a:ext cx="317500" cy="3175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0F0"/>
                </a:solidFill>
                <a:effectLst/>
                <a:uLnTx/>
                <a:uFillTx/>
                <a:latin typeface="Arial"/>
                <a:ea typeface="+mn-ea"/>
                <a:cs typeface="+mn-cs"/>
                <a:sym typeface="Arial"/>
              </a:rPr>
              <a:t>13</a:t>
            </a:r>
          </a:p>
        </p:txBody>
      </p:sp>
      <p:sp>
        <p:nvSpPr>
          <p:cNvPr id="68" name="Oval 67">
            <a:extLst>
              <a:ext uri="{FF2B5EF4-FFF2-40B4-BE49-F238E27FC236}">
                <a16:creationId xmlns:a16="http://schemas.microsoft.com/office/drawing/2014/main" id="{F62E5101-439B-9C5F-36E6-9A930C8C9B27}"/>
              </a:ext>
            </a:extLst>
          </p:cNvPr>
          <p:cNvSpPr>
            <a:spLocks noChangeAspect="1"/>
          </p:cNvSpPr>
          <p:nvPr/>
        </p:nvSpPr>
        <p:spPr>
          <a:xfrm>
            <a:off x="8006631" y="3732634"/>
            <a:ext cx="317500" cy="317500"/>
          </a:xfrm>
          <a:prstGeom prst="ellipse">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146D"/>
                </a:solidFill>
                <a:effectLst/>
                <a:uLnTx/>
                <a:uFillTx/>
                <a:latin typeface="Arial"/>
                <a:ea typeface="+mn-ea"/>
                <a:cs typeface="+mn-cs"/>
                <a:sym typeface="Arial"/>
              </a:rPr>
              <a:t>9</a:t>
            </a:r>
          </a:p>
        </p:txBody>
      </p:sp>
      <p:sp>
        <p:nvSpPr>
          <p:cNvPr id="69" name="Oval 68">
            <a:extLst>
              <a:ext uri="{FF2B5EF4-FFF2-40B4-BE49-F238E27FC236}">
                <a16:creationId xmlns:a16="http://schemas.microsoft.com/office/drawing/2014/main" id="{1CA8D3AA-C395-A461-6999-4518933F3E69}"/>
              </a:ext>
            </a:extLst>
          </p:cNvPr>
          <p:cNvSpPr>
            <a:spLocks noChangeAspect="1"/>
          </p:cNvSpPr>
          <p:nvPr/>
        </p:nvSpPr>
        <p:spPr>
          <a:xfrm>
            <a:off x="7257331" y="2710284"/>
            <a:ext cx="317500" cy="3175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0F0"/>
                </a:solidFill>
                <a:effectLst/>
                <a:uLnTx/>
                <a:uFillTx/>
                <a:latin typeface="Arial"/>
                <a:ea typeface="+mn-ea"/>
                <a:cs typeface="+mn-cs"/>
                <a:sym typeface="Arial"/>
              </a:rPr>
              <a:t>24</a:t>
            </a:r>
          </a:p>
        </p:txBody>
      </p:sp>
      <p:sp>
        <p:nvSpPr>
          <p:cNvPr id="70" name="Oval 69">
            <a:extLst>
              <a:ext uri="{FF2B5EF4-FFF2-40B4-BE49-F238E27FC236}">
                <a16:creationId xmlns:a16="http://schemas.microsoft.com/office/drawing/2014/main" id="{00ACADC3-DFFC-D788-2C33-9F346A260795}"/>
              </a:ext>
            </a:extLst>
          </p:cNvPr>
          <p:cNvSpPr>
            <a:spLocks noChangeAspect="1"/>
          </p:cNvSpPr>
          <p:nvPr/>
        </p:nvSpPr>
        <p:spPr>
          <a:xfrm>
            <a:off x="6841406" y="2505496"/>
            <a:ext cx="317500" cy="317500"/>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146D"/>
                </a:solidFill>
                <a:effectLst/>
                <a:uLnTx/>
                <a:uFillTx/>
                <a:latin typeface="Arial"/>
                <a:ea typeface="+mn-ea"/>
                <a:cs typeface="+mn-cs"/>
                <a:sym typeface="Arial"/>
              </a:rPr>
              <a:t>27</a:t>
            </a:r>
          </a:p>
        </p:txBody>
      </p:sp>
      <p:sp>
        <p:nvSpPr>
          <p:cNvPr id="71" name="Oval 70">
            <a:extLst>
              <a:ext uri="{FF2B5EF4-FFF2-40B4-BE49-F238E27FC236}">
                <a16:creationId xmlns:a16="http://schemas.microsoft.com/office/drawing/2014/main" id="{7E36650E-4A36-0FAF-996D-538B9E48957F}"/>
              </a:ext>
            </a:extLst>
          </p:cNvPr>
          <p:cNvSpPr>
            <a:spLocks noChangeAspect="1"/>
          </p:cNvSpPr>
          <p:nvPr/>
        </p:nvSpPr>
        <p:spPr>
          <a:xfrm>
            <a:off x="6098456" y="3053184"/>
            <a:ext cx="315913" cy="31591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0F0"/>
                </a:solidFill>
                <a:effectLst/>
                <a:uLnTx/>
                <a:uFillTx/>
                <a:latin typeface="Arial"/>
                <a:ea typeface="+mn-ea"/>
                <a:cs typeface="+mn-cs"/>
                <a:sym typeface="Arial"/>
              </a:rPr>
              <a:t>19</a:t>
            </a:r>
          </a:p>
        </p:txBody>
      </p:sp>
      <p:sp>
        <p:nvSpPr>
          <p:cNvPr id="72" name="Oval 71">
            <a:extLst>
              <a:ext uri="{FF2B5EF4-FFF2-40B4-BE49-F238E27FC236}">
                <a16:creationId xmlns:a16="http://schemas.microsoft.com/office/drawing/2014/main" id="{EB9095D0-317F-95A8-2356-F7B965EE979E}"/>
              </a:ext>
            </a:extLst>
          </p:cNvPr>
          <p:cNvSpPr>
            <a:spLocks noChangeAspect="1"/>
          </p:cNvSpPr>
          <p:nvPr/>
        </p:nvSpPr>
        <p:spPr>
          <a:xfrm>
            <a:off x="5692056" y="3732634"/>
            <a:ext cx="317500" cy="317500"/>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146D"/>
                </a:solidFill>
                <a:effectLst/>
                <a:uLnTx/>
                <a:uFillTx/>
                <a:latin typeface="Arial"/>
                <a:ea typeface="+mn-ea"/>
                <a:cs typeface="+mn-cs"/>
                <a:sym typeface="Arial"/>
              </a:rPr>
              <a:t>9</a:t>
            </a:r>
          </a:p>
        </p:txBody>
      </p:sp>
      <p:sp>
        <p:nvSpPr>
          <p:cNvPr id="73" name="Oval 72">
            <a:extLst>
              <a:ext uri="{FF2B5EF4-FFF2-40B4-BE49-F238E27FC236}">
                <a16:creationId xmlns:a16="http://schemas.microsoft.com/office/drawing/2014/main" id="{2E25D033-415A-B42A-1261-A2E2E93FEEE0}"/>
              </a:ext>
            </a:extLst>
          </p:cNvPr>
          <p:cNvSpPr>
            <a:spLocks noChangeAspect="1"/>
          </p:cNvSpPr>
          <p:nvPr/>
        </p:nvSpPr>
        <p:spPr>
          <a:xfrm>
            <a:off x="4950694" y="4012034"/>
            <a:ext cx="315913" cy="31591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0F0"/>
                </a:solidFill>
                <a:effectLst/>
                <a:uLnTx/>
                <a:uFillTx/>
                <a:latin typeface="Arial"/>
                <a:ea typeface="+mn-ea"/>
                <a:cs typeface="+mn-cs"/>
                <a:sym typeface="Arial"/>
              </a:rPr>
              <a:t>5</a:t>
            </a:r>
          </a:p>
        </p:txBody>
      </p:sp>
      <p:sp>
        <p:nvSpPr>
          <p:cNvPr id="74" name="Oval 73">
            <a:extLst>
              <a:ext uri="{FF2B5EF4-FFF2-40B4-BE49-F238E27FC236}">
                <a16:creationId xmlns:a16="http://schemas.microsoft.com/office/drawing/2014/main" id="{4487FB4A-5984-2ECC-CB1D-F08E07089D88}"/>
              </a:ext>
            </a:extLst>
          </p:cNvPr>
          <p:cNvSpPr>
            <a:spLocks noChangeAspect="1"/>
          </p:cNvSpPr>
          <p:nvPr/>
        </p:nvSpPr>
        <p:spPr>
          <a:xfrm>
            <a:off x="4523656" y="4145384"/>
            <a:ext cx="315913" cy="315913"/>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146D"/>
                </a:solidFill>
                <a:effectLst/>
                <a:uLnTx/>
                <a:uFillTx/>
                <a:latin typeface="Arial"/>
                <a:ea typeface="+mn-ea"/>
                <a:cs typeface="+mn-cs"/>
                <a:sym typeface="Arial"/>
              </a:rPr>
              <a:t>3</a:t>
            </a:r>
          </a:p>
        </p:txBody>
      </p:sp>
      <p:sp>
        <p:nvSpPr>
          <p:cNvPr id="75" name="Oval 74">
            <a:extLst>
              <a:ext uri="{FF2B5EF4-FFF2-40B4-BE49-F238E27FC236}">
                <a16:creationId xmlns:a16="http://schemas.microsoft.com/office/drawing/2014/main" id="{3D0537A6-C141-530F-0AFD-39BA46A4B05D}"/>
              </a:ext>
            </a:extLst>
          </p:cNvPr>
          <p:cNvSpPr>
            <a:spLocks noChangeAspect="1"/>
          </p:cNvSpPr>
          <p:nvPr/>
        </p:nvSpPr>
        <p:spPr>
          <a:xfrm>
            <a:off x="3780706" y="4073946"/>
            <a:ext cx="315913" cy="315913"/>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B0F0"/>
                </a:solidFill>
                <a:effectLst/>
                <a:uLnTx/>
                <a:uFillTx/>
                <a:latin typeface="Arial"/>
                <a:ea typeface="+mn-ea"/>
                <a:cs typeface="+mn-cs"/>
                <a:sym typeface="Arial"/>
              </a:rPr>
              <a:t>4</a:t>
            </a:r>
          </a:p>
        </p:txBody>
      </p:sp>
      <p:sp>
        <p:nvSpPr>
          <p:cNvPr id="76" name="Oval 75">
            <a:extLst>
              <a:ext uri="{FF2B5EF4-FFF2-40B4-BE49-F238E27FC236}">
                <a16:creationId xmlns:a16="http://schemas.microsoft.com/office/drawing/2014/main" id="{2F96E1F4-80B4-57E2-62C9-3386C369042F}"/>
              </a:ext>
            </a:extLst>
          </p:cNvPr>
          <p:cNvSpPr>
            <a:spLocks noChangeAspect="1"/>
          </p:cNvSpPr>
          <p:nvPr/>
        </p:nvSpPr>
        <p:spPr>
          <a:xfrm>
            <a:off x="3375894" y="4145384"/>
            <a:ext cx="315913" cy="315913"/>
          </a:xfrm>
          <a:prstGeom prst="ellipse">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146D"/>
                </a:solidFill>
                <a:effectLst/>
                <a:uLnTx/>
                <a:uFillTx/>
                <a:latin typeface="Arial"/>
                <a:ea typeface="+mn-ea"/>
                <a:cs typeface="+mn-cs"/>
                <a:sym typeface="Arial"/>
              </a:rPr>
              <a:t>3</a:t>
            </a:r>
          </a:p>
        </p:txBody>
      </p:sp>
      <p:sp>
        <p:nvSpPr>
          <p:cNvPr id="106" name="Text Placeholder 4">
            <a:extLst>
              <a:ext uri="{FF2B5EF4-FFF2-40B4-BE49-F238E27FC236}">
                <a16:creationId xmlns:a16="http://schemas.microsoft.com/office/drawing/2014/main" id="{21238920-A700-40A7-E0E8-6C063D72B26F}"/>
              </a:ext>
            </a:extLst>
          </p:cNvPr>
          <p:cNvSpPr txBox="1">
            <a:spLocks/>
          </p:cNvSpPr>
          <p:nvPr/>
        </p:nvSpPr>
        <p:spPr>
          <a:xfrm>
            <a:off x="642795" y="6317047"/>
            <a:ext cx="9463189" cy="359672"/>
          </a:xfrm>
          <a:prstGeom prst="rect">
            <a:avLst/>
          </a:prstGeom>
        </p:spPr>
        <p:txBody>
          <a:bodyPr vert="horz" lIns="0" tIns="0" rIns="0" bIns="0" rtlCol="0" anchor="ctr" anchorCtr="0">
            <a:normAutofit/>
          </a:bodyPr>
          <a:lstStyle>
            <a:lvl1pPr marL="0" indent="0" algn="l" defTabSz="914400" rtl="0" eaLnBrk="1" latinLnBrk="0" hangingPunct="1">
              <a:lnSpc>
                <a:spcPct val="90000"/>
              </a:lnSpc>
              <a:spcBef>
                <a:spcPts val="1000"/>
              </a:spcBef>
              <a:buFont typeface="Wingdings" panose="05000000000000000000" pitchFamily="2" charset="2"/>
              <a:buNone/>
              <a:defRPr sz="1000" kern="1200" baseline="0">
                <a:solidFill>
                  <a:schemeClr val="tx1">
                    <a:lumMod val="50000"/>
                    <a:lumOff val="50000"/>
                  </a:schemeClr>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kumimoji="0" lang="en-GB" sz="1000" b="0" i="0" u="none" strike="noStrike" kern="1200" cap="none" spc="0" normalizeH="0" baseline="0" noProof="0" dirty="0">
                <a:ln>
                  <a:noFill/>
                </a:ln>
                <a:solidFill>
                  <a:srgbClr val="000000">
                    <a:lumMod val="50000"/>
                    <a:lumOff val="50000"/>
                  </a:srgbClr>
                </a:solidFill>
                <a:effectLst/>
                <a:uLnTx/>
                <a:uFillTx/>
                <a:latin typeface="Century Gothic"/>
                <a:ea typeface="+mn-ea"/>
                <a:cs typeface="+mn-cs"/>
              </a:rPr>
              <a:t>Source: International Resource Panel (2024), Global Resources Outlook 2024 (https://www.resourcepanel.org/reports/global-resources-outlook-2024)</a:t>
            </a:r>
          </a:p>
        </p:txBody>
      </p:sp>
      <p:sp>
        <p:nvSpPr>
          <p:cNvPr id="14" name="Rectangle 13">
            <a:extLst>
              <a:ext uri="{FF2B5EF4-FFF2-40B4-BE49-F238E27FC236}">
                <a16:creationId xmlns:a16="http://schemas.microsoft.com/office/drawing/2014/main" id="{2669479B-72B5-1CC5-018C-2EC19035076C}"/>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2200221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9F130C-AD34-0CD1-CA13-829152FF3E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278" imgH="278" progId="TCLayout.ActiveDocument.1">
                  <p:embed/>
                </p:oleObj>
              </mc:Choice>
              <mc:Fallback>
                <p:oleObj name="think-cell Slide" r:id="rId26" imgW="278" imgH="278" progId="TCLayout.ActiveDocument.1">
                  <p:embed/>
                  <p:pic>
                    <p:nvPicPr>
                      <p:cNvPr id="7" name="think-cell data - do not delete" hidden="1">
                        <a:extLst>
                          <a:ext uri="{FF2B5EF4-FFF2-40B4-BE49-F238E27FC236}">
                            <a16:creationId xmlns:a16="http://schemas.microsoft.com/office/drawing/2014/main" id="{939F130C-AD34-0CD1-CA13-829152FF3E5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A4FCFE-F2B4-A5B1-303C-66BBACE04B8B}"/>
              </a:ext>
            </a:extLst>
          </p:cNvPr>
          <p:cNvSpPr>
            <a:spLocks noGrp="1"/>
          </p:cNvSpPr>
          <p:nvPr>
            <p:ph type="title"/>
          </p:nvPr>
        </p:nvSpPr>
        <p:spPr/>
        <p:txBody>
          <a:bodyPr vert="horz">
            <a:normAutofit fontScale="90000"/>
          </a:bodyPr>
          <a:lstStyle/>
          <a:p>
            <a:r>
              <a:rPr lang="en-GB" dirty="0"/>
              <a:t>…And it’s driving climate change, biodiversity loss, pollution and more</a:t>
            </a:r>
          </a:p>
        </p:txBody>
      </p:sp>
      <p:sp>
        <p:nvSpPr>
          <p:cNvPr id="8" name="TextBox 7">
            <a:extLst>
              <a:ext uri="{FF2B5EF4-FFF2-40B4-BE49-F238E27FC236}">
                <a16:creationId xmlns:a16="http://schemas.microsoft.com/office/drawing/2014/main" id="{7A0E6117-F8EE-E571-B72B-5E40C38A22EC}"/>
              </a:ext>
            </a:extLst>
          </p:cNvPr>
          <p:cNvSpPr txBox="1">
            <a:spLocks/>
          </p:cNvSpPr>
          <p:nvPr/>
        </p:nvSpPr>
        <p:spPr>
          <a:xfrm>
            <a:off x="314960" y="4110039"/>
            <a:ext cx="3401907" cy="498475"/>
          </a:xfrm>
          <a:prstGeom prst="rect">
            <a:avLst/>
          </a:prstGeom>
          <a:solidFill>
            <a:schemeClr val="accent6">
              <a:lumMod val="40000"/>
              <a:lumOff val="60000"/>
            </a:schemeClr>
          </a:solidFill>
          <a:ln>
            <a:solidFill>
              <a:schemeClr val="bg1">
                <a:lumMod val="75000"/>
              </a:schemeClr>
            </a:solidFill>
          </a:ln>
        </p:spPr>
        <p:txBody>
          <a:bodyPr wrap="square" rtlCol="0" anchor="ctr">
            <a:noAutofit/>
          </a:bodyPr>
          <a:lstStyle>
            <a:defPPr marR="0" lvl="0" algn="l" rtl="0">
              <a:lnSpc>
                <a:spcPct val="100000"/>
              </a:lnSpc>
              <a:spcBef>
                <a:spcPts val="0"/>
              </a:spcBef>
              <a:spcAft>
                <a:spcPts val="0"/>
              </a:spcAft>
            </a:defPPr>
            <a:lvl1pPr>
              <a:defRPr sz="1600" b="1">
                <a:solidFill>
                  <a:schemeClr val="tx1"/>
                </a:solidFill>
                <a:ea typeface="Roboto" charset="0"/>
                <a:cs typeface="Robot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entury Gothic"/>
                <a:ea typeface="Roboto" charset="0"/>
                <a:cs typeface="Roboto" charset="0"/>
              </a:rPr>
              <a:t>60% </a:t>
            </a:r>
            <a:r>
              <a:rPr kumimoji="0" lang="en-US" sz="1300" b="0" i="0" u="none" strike="noStrike" kern="1200" cap="none" spc="0" normalizeH="0" baseline="0" noProof="0" dirty="0">
                <a:ln>
                  <a:noFill/>
                </a:ln>
                <a:solidFill>
                  <a:srgbClr val="000000"/>
                </a:solidFill>
                <a:effectLst/>
                <a:uLnTx/>
                <a:uFillTx/>
                <a:latin typeface="Century Gothic"/>
                <a:ea typeface="Roboto" charset="0"/>
                <a:cs typeface="Roboto" charset="0"/>
              </a:rPr>
              <a:t>of global climate change impacts including land use change</a:t>
            </a:r>
          </a:p>
        </p:txBody>
      </p:sp>
      <p:sp>
        <p:nvSpPr>
          <p:cNvPr id="9" name="TextBox 8">
            <a:extLst>
              <a:ext uri="{FF2B5EF4-FFF2-40B4-BE49-F238E27FC236}">
                <a16:creationId xmlns:a16="http://schemas.microsoft.com/office/drawing/2014/main" id="{2C348BD3-C532-314B-DC5B-2CBF10F4D841}"/>
              </a:ext>
            </a:extLst>
          </p:cNvPr>
          <p:cNvSpPr txBox="1">
            <a:spLocks/>
          </p:cNvSpPr>
          <p:nvPr/>
        </p:nvSpPr>
        <p:spPr>
          <a:xfrm>
            <a:off x="314960" y="4697414"/>
            <a:ext cx="3401907" cy="498475"/>
          </a:xfrm>
          <a:prstGeom prst="rect">
            <a:avLst/>
          </a:prstGeom>
          <a:solidFill>
            <a:schemeClr val="accent6">
              <a:lumMod val="40000"/>
              <a:lumOff val="60000"/>
            </a:schemeClr>
          </a:solidFill>
          <a:ln>
            <a:solidFill>
              <a:schemeClr val="bg1">
                <a:lumMod val="75000"/>
              </a:schemeClr>
            </a:solidFill>
          </a:ln>
        </p:spPr>
        <p:txBody>
          <a:bodyPr wrap="square" rtlCol="0" anchor="ctr">
            <a:noAutofit/>
          </a:bodyPr>
          <a:lstStyle>
            <a:defPPr marR="0" lvl="0" algn="l" rtl="0">
              <a:lnSpc>
                <a:spcPct val="100000"/>
              </a:lnSpc>
              <a:spcBef>
                <a:spcPts val="0"/>
              </a:spcBef>
              <a:spcAft>
                <a:spcPts val="0"/>
              </a:spcAft>
            </a:defPPr>
            <a:lvl1pPr>
              <a:defRPr sz="1600" b="1">
                <a:solidFill>
                  <a:schemeClr val="tx1"/>
                </a:solidFill>
                <a:ea typeface="Roboto" charset="0"/>
                <a:cs typeface="Robot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Century Gothic"/>
                <a:ea typeface="Roboto" charset="0"/>
                <a:cs typeface="Roboto" charset="0"/>
              </a:rPr>
              <a:t>40% </a:t>
            </a:r>
            <a:r>
              <a:rPr kumimoji="0" lang="en-US" sz="1300" b="0" i="0" u="none" strike="noStrike" kern="1200" cap="none" spc="0" normalizeH="0" baseline="0" noProof="0" dirty="0">
                <a:ln>
                  <a:noFill/>
                </a:ln>
                <a:solidFill>
                  <a:srgbClr val="000000"/>
                </a:solidFill>
                <a:effectLst/>
                <a:uLnTx/>
                <a:uFillTx/>
                <a:latin typeface="Century Gothic"/>
                <a:ea typeface="Roboto" charset="0"/>
                <a:cs typeface="Roboto" charset="0"/>
              </a:rPr>
              <a:t>of air pollution health impacts</a:t>
            </a:r>
          </a:p>
        </p:txBody>
      </p:sp>
      <p:sp>
        <p:nvSpPr>
          <p:cNvPr id="10" name="TextBox 9">
            <a:extLst>
              <a:ext uri="{FF2B5EF4-FFF2-40B4-BE49-F238E27FC236}">
                <a16:creationId xmlns:a16="http://schemas.microsoft.com/office/drawing/2014/main" id="{48BBEA06-EAE6-8A51-F887-5259392746D5}"/>
              </a:ext>
            </a:extLst>
          </p:cNvPr>
          <p:cNvSpPr txBox="1">
            <a:spLocks/>
          </p:cNvSpPr>
          <p:nvPr/>
        </p:nvSpPr>
        <p:spPr>
          <a:xfrm>
            <a:off x="314960" y="5283200"/>
            <a:ext cx="3401907" cy="684213"/>
          </a:xfrm>
          <a:prstGeom prst="rect">
            <a:avLst/>
          </a:prstGeom>
          <a:solidFill>
            <a:schemeClr val="accent6">
              <a:lumMod val="40000"/>
              <a:lumOff val="60000"/>
            </a:schemeClr>
          </a:solidFill>
          <a:ln>
            <a:solidFill>
              <a:schemeClr val="bg1">
                <a:lumMod val="75000"/>
              </a:schemeClr>
            </a:solidFill>
          </a:ln>
        </p:spPr>
        <p:txBody>
          <a:bodyPr wrap="square" rtlCol="0" anchor="ctr">
            <a:noAutofit/>
          </a:bodyPr>
          <a:lstStyle>
            <a:defPPr marR="0" lvl="0" algn="l" rtl="0">
              <a:lnSpc>
                <a:spcPct val="100000"/>
              </a:lnSpc>
              <a:spcBef>
                <a:spcPts val="0"/>
              </a:spcBef>
              <a:spcAft>
                <a:spcPts val="0"/>
              </a:spcAft>
            </a:defPPr>
            <a:lvl1pPr>
              <a:defRPr sz="1600" b="1">
                <a:solidFill>
                  <a:schemeClr val="tx1"/>
                </a:solidFill>
                <a:ea typeface="Roboto" charset="0"/>
                <a:cs typeface="Roboto"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Roboto" charset="0"/>
                <a:cs typeface="Roboto" charset="0"/>
              </a:rPr>
              <a:t>&gt; </a:t>
            </a:r>
            <a:r>
              <a:rPr kumimoji="0" lang="en-US" sz="1300" b="1" i="0" u="none" strike="noStrike" kern="1200" cap="none" spc="0" normalizeH="0" baseline="0" noProof="0" dirty="0">
                <a:ln>
                  <a:noFill/>
                </a:ln>
                <a:solidFill>
                  <a:srgbClr val="000000"/>
                </a:solidFill>
                <a:effectLst/>
                <a:uLnTx/>
                <a:uFillTx/>
                <a:latin typeface="Century Gothic"/>
                <a:ea typeface="Roboto" charset="0"/>
                <a:cs typeface="Roboto" charset="0"/>
              </a:rPr>
              <a:t>90% </a:t>
            </a:r>
            <a:r>
              <a:rPr kumimoji="0" lang="en-US" sz="1300" b="0" i="0" u="none" strike="noStrike" kern="1200" cap="none" spc="0" normalizeH="0" baseline="0" noProof="0" dirty="0">
                <a:ln>
                  <a:noFill/>
                </a:ln>
                <a:solidFill>
                  <a:srgbClr val="000000"/>
                </a:solidFill>
                <a:effectLst/>
                <a:uLnTx/>
                <a:uFillTx/>
                <a:latin typeface="Century Gothic"/>
                <a:ea typeface="Roboto" charset="0"/>
                <a:cs typeface="Roboto" charset="0"/>
              </a:rPr>
              <a:t>of water stress and global land and water eutrophication related biodiversity loss</a:t>
            </a:r>
          </a:p>
        </p:txBody>
      </p:sp>
      <p:sp>
        <p:nvSpPr>
          <p:cNvPr id="12" name="Google Shape;358;p8">
            <a:extLst>
              <a:ext uri="{FF2B5EF4-FFF2-40B4-BE49-F238E27FC236}">
                <a16:creationId xmlns:a16="http://schemas.microsoft.com/office/drawing/2014/main" id="{C650ADB2-B1D0-1638-97A5-3726D3154D57}"/>
              </a:ext>
            </a:extLst>
          </p:cNvPr>
          <p:cNvSpPr txBox="1">
            <a:spLocks/>
          </p:cNvSpPr>
          <p:nvPr/>
        </p:nvSpPr>
        <p:spPr>
          <a:xfrm>
            <a:off x="314959" y="981075"/>
            <a:ext cx="3385941" cy="711200"/>
          </a:xfrm>
          <a:prstGeom prst="rect">
            <a:avLst/>
          </a:prstGeom>
          <a:noFill/>
          <a:ln>
            <a:noFill/>
          </a:ln>
        </p:spPr>
        <p:txBody>
          <a:bodyPr spcFirstLastPara="1" wrap="square" lIns="72000" tIns="36000" rIns="72000" bIns="36000" anchor="t"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mn-cs"/>
              </a:rPr>
              <a:t>Environmental impacts of materials in the value chain in </a:t>
            </a:r>
            <a:r>
              <a:rPr kumimoji="0" lang="en-US" sz="1300" b="1"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mn-cs"/>
              </a:rPr>
              <a:t>extraction and processing </a:t>
            </a:r>
            <a:r>
              <a:rPr kumimoji="0" lang="en-US" sz="1300" b="0" i="0" u="none" strike="noStrike" kern="1200" cap="none" spc="0" normalizeH="0" baseline="0" noProof="0" dirty="0">
                <a:ln>
                  <a:noFill/>
                </a:ln>
                <a:solidFill>
                  <a:srgbClr val="000000"/>
                </a:solidFill>
                <a:effectLst/>
                <a:uLnTx/>
                <a:uFillTx/>
                <a:latin typeface="Century Gothic" panose="020B0502020202020204" pitchFamily="34" charset="0"/>
                <a:ea typeface="Century Gothic" panose="020B0502020202020204" pitchFamily="34" charset="0"/>
                <a:cs typeface="+mn-cs"/>
              </a:rPr>
              <a:t>phase </a:t>
            </a:r>
          </a:p>
        </p:txBody>
      </p:sp>
      <p:graphicFrame>
        <p:nvGraphicFramePr>
          <p:cNvPr id="27" name="Chart 26">
            <a:extLst>
              <a:ext uri="{FF2B5EF4-FFF2-40B4-BE49-F238E27FC236}">
                <a16:creationId xmlns:a16="http://schemas.microsoft.com/office/drawing/2014/main" id="{F45FAB7D-8240-BD46-58C5-B4E931B1514D}"/>
              </a:ext>
            </a:extLst>
          </p:cNvPr>
          <p:cNvGraphicFramePr/>
          <p:nvPr>
            <p:custDataLst>
              <p:tags r:id="rId2"/>
            </p:custDataLst>
          </p:nvPr>
        </p:nvGraphicFramePr>
        <p:xfrm>
          <a:off x="4079875" y="1038225"/>
          <a:ext cx="7897813" cy="2887663"/>
        </p:xfrm>
        <a:graphic>
          <a:graphicData uri="http://schemas.openxmlformats.org/drawingml/2006/chart">
            <c:chart xmlns:c="http://schemas.openxmlformats.org/drawingml/2006/chart" xmlns:r="http://schemas.openxmlformats.org/officeDocument/2006/relationships" r:id="rId28"/>
          </a:graphicData>
        </a:graphic>
      </p:graphicFrame>
      <p:sp>
        <p:nvSpPr>
          <p:cNvPr id="32" name="Google Shape;11;p20">
            <a:extLst>
              <a:ext uri="{FF2B5EF4-FFF2-40B4-BE49-F238E27FC236}">
                <a16:creationId xmlns:a16="http://schemas.microsoft.com/office/drawing/2014/main" id="{7A0CCF56-ED23-1AA5-00E5-3B0E5D19082E}"/>
              </a:ext>
            </a:extLst>
          </p:cNvPr>
          <p:cNvSpPr txBox="1">
            <a:spLocks noGrp="1"/>
          </p:cNvSpPr>
          <p:nvPr>
            <p:custDataLst>
              <p:tags r:id="rId3"/>
            </p:custDataLst>
          </p:nvPr>
        </p:nvSpPr>
        <p:spPr bwMode="auto">
          <a:xfrm>
            <a:off x="3889375" y="1585913"/>
            <a:ext cx="182563" cy="1792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vert270" wrap="none" lIns="0" tIns="0" rIns="0" bIns="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en-US" altLang="en-US" sz="1200" b="1" i="0" u="none" strike="noStrike" kern="1200" cap="none" spc="0" normalizeH="0" baseline="0" noProof="0" dirty="0">
                <a:ln>
                  <a:noFill/>
                </a:ln>
                <a:solidFill>
                  <a:srgbClr val="000000"/>
                </a:solidFill>
                <a:effectLst/>
                <a:uLnTx/>
                <a:uFillTx/>
                <a:latin typeface="Century Gothic"/>
                <a:ea typeface="+mn-ea"/>
                <a:cs typeface="Arial"/>
                <a:sym typeface="Arial"/>
              </a:rPr>
              <a:t>Global share in 2022 (%)</a:t>
            </a:r>
            <a:endParaRPr kumimoji="0" lang="en-US" sz="1200" b="1"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3" name="Google Shape;11;p20">
            <a:extLst>
              <a:ext uri="{FF2B5EF4-FFF2-40B4-BE49-F238E27FC236}">
                <a16:creationId xmlns:a16="http://schemas.microsoft.com/office/drawing/2014/main" id="{7AB81E8C-8B18-0BB2-D0B0-424FACAFD8A8}"/>
              </a:ext>
            </a:extLst>
          </p:cNvPr>
          <p:cNvSpPr txBox="1">
            <a:spLocks noGrp="1"/>
          </p:cNvSpPr>
          <p:nvPr>
            <p:custDataLst>
              <p:tags r:id="rId4"/>
            </p:custDataLst>
          </p:nvPr>
        </p:nvSpPr>
        <p:spPr bwMode="auto">
          <a:xfrm>
            <a:off x="4762500" y="3794125"/>
            <a:ext cx="804863" cy="7302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D9EC574C-AEC2-49C0-A3E2-D2CEEC14FDB3}" type="datetime'C''''limate i''mpacts (me''t''h''od ''GR''O'' 2''01''''9)'">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Climate impacts (method GRO 2019)</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4" name="Google Shape;11;p20">
            <a:extLst>
              <a:ext uri="{FF2B5EF4-FFF2-40B4-BE49-F238E27FC236}">
                <a16:creationId xmlns:a16="http://schemas.microsoft.com/office/drawing/2014/main" id="{751BBB37-59F1-36A8-3F5D-EE349B341A25}"/>
              </a:ext>
            </a:extLst>
          </p:cNvPr>
          <p:cNvSpPr txBox="1">
            <a:spLocks noGrp="1"/>
          </p:cNvSpPr>
          <p:nvPr>
            <p:custDataLst>
              <p:tags r:id="rId5"/>
            </p:custDataLst>
          </p:nvPr>
        </p:nvSpPr>
        <p:spPr bwMode="auto">
          <a:xfrm>
            <a:off x="5730875" y="3794125"/>
            <a:ext cx="660400" cy="912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11A3D48A-C95C-4872-A475-658988FFBCAA}" type="datetime'C''l''i''mat''''''''e'''' ''''''i''''mpa''ct''''''''''''''''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Climate impacts</a:t>
            </a:fld>
            <a:endParaRPr kumimoji="0" lang="en-US" alt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r>
              <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rPr>
              <a:t>(</a:t>
            </a:r>
            <a:r>
              <a:rPr kumimoji="0" lang="en-US" sz="1200" b="0" i="0" u="none" strike="noStrike" kern="1200" cap="none" spc="0" normalizeH="0" baseline="0" noProof="0" dirty="0" err="1">
                <a:ln>
                  <a:noFill/>
                </a:ln>
                <a:solidFill>
                  <a:srgbClr val="000000"/>
                </a:solidFill>
                <a:effectLst/>
                <a:uLnTx/>
                <a:uFillTx/>
                <a:latin typeface="Century Gothic"/>
                <a:ea typeface="+mn-ea"/>
                <a:cs typeface="Arial"/>
                <a:sym typeface="Arial"/>
              </a:rPr>
              <a:t>inc</a:t>
            </a:r>
            <a:r>
              <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rPr>
              <a:t> </a:t>
            </a:r>
            <a:fld id="{D91108E1-7D84-4361-9F58-83864B657459}" type="datetime' '">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 </a:t>
            </a:fld>
            <a:br>
              <a:rPr kumimoji="0" lang="en-US" altLang="en-US" sz="1200" b="0" i="0" u="none" strike="noStrike" kern="1200" cap="none" spc="0" normalizeH="0" baseline="0" noProof="0" dirty="0">
                <a:ln>
                  <a:noFill/>
                </a:ln>
                <a:solidFill>
                  <a:srgbClr val="000000"/>
                </a:solidFill>
                <a:effectLst/>
                <a:uLnTx/>
                <a:uFillTx/>
                <a:latin typeface="Century Gothic"/>
                <a:ea typeface="+mn-ea"/>
                <a:cs typeface="Arial"/>
                <a:sym typeface="Arial"/>
              </a:rPr>
            </a:br>
            <a:r>
              <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rPr>
              <a:t>land use change)</a:t>
            </a:r>
          </a:p>
        </p:txBody>
      </p:sp>
      <p:sp>
        <p:nvSpPr>
          <p:cNvPr id="35" name="Google Shape;11;p20">
            <a:extLst>
              <a:ext uri="{FF2B5EF4-FFF2-40B4-BE49-F238E27FC236}">
                <a16:creationId xmlns:a16="http://schemas.microsoft.com/office/drawing/2014/main" id="{A784E5FA-3EA2-F35F-0145-E76D57AC347C}"/>
              </a:ext>
            </a:extLst>
          </p:cNvPr>
          <p:cNvSpPr txBox="1">
            <a:spLocks noGrp="1"/>
          </p:cNvSpPr>
          <p:nvPr>
            <p:custDataLst>
              <p:tags r:id="rId6"/>
            </p:custDataLst>
          </p:nvPr>
        </p:nvSpPr>
        <p:spPr bwMode="auto">
          <a:xfrm>
            <a:off x="6580188" y="3794125"/>
            <a:ext cx="7588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5ADBFBAE-17DB-4ADC-9012-38D12BF33144}" type="datetime'PM'''''''''''' ''he''''''alt''''h'''' i''mp''a''''''''''ct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PM health impact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6" name="Google Shape;11;p20">
            <a:extLst>
              <a:ext uri="{FF2B5EF4-FFF2-40B4-BE49-F238E27FC236}">
                <a16:creationId xmlns:a16="http://schemas.microsoft.com/office/drawing/2014/main" id="{24C67A79-AD43-224F-0D0E-CC19211BAFEF}"/>
              </a:ext>
            </a:extLst>
          </p:cNvPr>
          <p:cNvSpPr txBox="1">
            <a:spLocks noGrp="1"/>
          </p:cNvSpPr>
          <p:nvPr>
            <p:custDataLst>
              <p:tags r:id="rId7"/>
            </p:custDataLst>
          </p:nvPr>
        </p:nvSpPr>
        <p:spPr bwMode="auto">
          <a:xfrm>
            <a:off x="7626350" y="3794125"/>
            <a:ext cx="46037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A0D5EDC8-9ED5-40CA-A032-270533116707}" type="datetime'''''''''W''''''''a''''''ter&#10;s''''''t''''''''''r''''''''''es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Water
stres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7" name="Google Shape;11;p20">
            <a:extLst>
              <a:ext uri="{FF2B5EF4-FFF2-40B4-BE49-F238E27FC236}">
                <a16:creationId xmlns:a16="http://schemas.microsoft.com/office/drawing/2014/main" id="{41182816-F1A3-1C9E-0AB9-0E7B401BC02E}"/>
              </a:ext>
            </a:extLst>
          </p:cNvPr>
          <p:cNvSpPr txBox="1">
            <a:spLocks noGrp="1"/>
          </p:cNvSpPr>
          <p:nvPr>
            <p:custDataLst>
              <p:tags r:id="rId8"/>
            </p:custDataLst>
          </p:nvPr>
        </p:nvSpPr>
        <p:spPr bwMode="auto">
          <a:xfrm>
            <a:off x="8345488" y="3794125"/>
            <a:ext cx="815975"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44B68EB9-6CB7-40F8-8CBE-648AC3A6CB59}" type="datetime'''''''Bio''divers''i''t''y&#10;''lo''s''s&#10;''''''''(''''la''n''d)'">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Biodiversity
loss
(land)</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8" name="Google Shape;11;p20">
            <a:extLst>
              <a:ext uri="{FF2B5EF4-FFF2-40B4-BE49-F238E27FC236}">
                <a16:creationId xmlns:a16="http://schemas.microsoft.com/office/drawing/2014/main" id="{7E6977CC-D1ED-FD51-9FC9-5059F4349EAE}"/>
              </a:ext>
            </a:extLst>
          </p:cNvPr>
          <p:cNvSpPr txBox="1">
            <a:spLocks noGrp="1"/>
          </p:cNvSpPr>
          <p:nvPr>
            <p:custDataLst>
              <p:tags r:id="rId9"/>
            </p:custDataLst>
          </p:nvPr>
        </p:nvSpPr>
        <p:spPr bwMode="auto">
          <a:xfrm>
            <a:off x="9159875" y="3794125"/>
            <a:ext cx="982663" cy="7302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661B2539-AF90-446B-AA58-FD26B610BFF5}" type="datetime'''Bio''diversity&#10;l''oss ''(''fr''eshwa''ter eutro''phicat.)'">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Biodiversity
loss (freshwater eutrophicat.)</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39" name="Google Shape;11;p20">
            <a:extLst>
              <a:ext uri="{FF2B5EF4-FFF2-40B4-BE49-F238E27FC236}">
                <a16:creationId xmlns:a16="http://schemas.microsoft.com/office/drawing/2014/main" id="{EFF54663-8341-FD35-54F5-94855C393BB9}"/>
              </a:ext>
            </a:extLst>
          </p:cNvPr>
          <p:cNvSpPr txBox="1">
            <a:spLocks noGrp="1"/>
          </p:cNvSpPr>
          <p:nvPr>
            <p:custDataLst>
              <p:tags r:id="rId10"/>
            </p:custDataLst>
          </p:nvPr>
        </p:nvSpPr>
        <p:spPr bwMode="auto">
          <a:xfrm>
            <a:off x="10283825" y="3794125"/>
            <a:ext cx="5302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32947C3E-D945-4765-8CB7-335F0D717743}" type="datetime'V''''''''''a''''''''''''''lu''''e&#10;''''a''''d''d''''e''''d'''">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Value
added</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40" name="Google Shape;11;p20">
            <a:extLst>
              <a:ext uri="{FF2B5EF4-FFF2-40B4-BE49-F238E27FC236}">
                <a16:creationId xmlns:a16="http://schemas.microsoft.com/office/drawing/2014/main" id="{7D097024-2A26-E2B0-DAD5-00931BD1E986}"/>
              </a:ext>
            </a:extLst>
          </p:cNvPr>
          <p:cNvSpPr txBox="1">
            <a:spLocks noGrp="1"/>
          </p:cNvSpPr>
          <p:nvPr>
            <p:custDataLst>
              <p:tags r:id="rId11"/>
            </p:custDataLst>
          </p:nvPr>
        </p:nvSpPr>
        <p:spPr bwMode="auto">
          <a:xfrm>
            <a:off x="11060113" y="3794125"/>
            <a:ext cx="771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fld id="{199EE341-3C5C-451D-859E-16083F1C2917}" type="datetime'''''''''''''''''Wor''''''''''k''''''''''f''''''''''or''ce'''">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ctr" defTabSz="914400" rtl="0" eaLnBrk="1" fontAlgn="auto" latinLnBrk="0" hangingPunct="1">
                <a:lnSpc>
                  <a:spcPct val="100000"/>
                </a:lnSpc>
                <a:spcBef>
                  <a:spcPct val="0"/>
                </a:spcBef>
                <a:spcAft>
                  <a:spcPct val="0"/>
                </a:spcAft>
                <a:buClr>
                  <a:srgbClr val="000000"/>
                </a:buClr>
                <a:buSzTx/>
                <a:buFont typeface="Arial"/>
                <a:buNone/>
                <a:tabLst/>
                <a:defRPr/>
              </a:pPr>
              <a:t>Workforce</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41" name="Rectangle 40">
            <a:extLst>
              <a:ext uri="{FF2B5EF4-FFF2-40B4-BE49-F238E27FC236}">
                <a16:creationId xmlns:a16="http://schemas.microsoft.com/office/drawing/2014/main" id="{A7289C2C-5E21-360D-A61B-98B5B44B6545}"/>
              </a:ext>
            </a:extLst>
          </p:cNvPr>
          <p:cNvSpPr/>
          <p:nvPr>
            <p:custDataLst>
              <p:tags r:id="rId12"/>
            </p:custDataLst>
          </p:nvPr>
        </p:nvSpPr>
        <p:spPr bwMode="auto">
          <a:xfrm>
            <a:off x="6515100" y="5495925"/>
            <a:ext cx="214313" cy="160338"/>
          </a:xfrm>
          <a:prstGeom prst="rect">
            <a:avLst/>
          </a:prstGeom>
          <a:solidFill>
            <a:srgbClr val="71B561"/>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2" name="Rectangle 41">
            <a:extLst>
              <a:ext uri="{FF2B5EF4-FFF2-40B4-BE49-F238E27FC236}">
                <a16:creationId xmlns:a16="http://schemas.microsoft.com/office/drawing/2014/main" id="{788CCFA5-C693-90B8-C7AC-89B9AF07CCD8}"/>
              </a:ext>
            </a:extLst>
          </p:cNvPr>
          <p:cNvSpPr/>
          <p:nvPr>
            <p:custDataLst>
              <p:tags r:id="rId13"/>
            </p:custDataLst>
          </p:nvPr>
        </p:nvSpPr>
        <p:spPr bwMode="auto">
          <a:xfrm>
            <a:off x="6515100" y="5729288"/>
            <a:ext cx="214313" cy="160338"/>
          </a:xfrm>
          <a:prstGeom prst="rect">
            <a:avLst/>
          </a:prstGeom>
          <a:solidFill>
            <a:srgbClr val="000000"/>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3" name="Rectangle 42">
            <a:extLst>
              <a:ext uri="{FF2B5EF4-FFF2-40B4-BE49-F238E27FC236}">
                <a16:creationId xmlns:a16="http://schemas.microsoft.com/office/drawing/2014/main" id="{7A59561A-A4CA-90F1-3575-6293783634F8}"/>
              </a:ext>
            </a:extLst>
          </p:cNvPr>
          <p:cNvSpPr/>
          <p:nvPr>
            <p:custDataLst>
              <p:tags r:id="rId14"/>
            </p:custDataLst>
          </p:nvPr>
        </p:nvSpPr>
        <p:spPr bwMode="auto">
          <a:xfrm>
            <a:off x="6515100" y="5962650"/>
            <a:ext cx="214313" cy="160338"/>
          </a:xfrm>
          <a:prstGeom prst="rect">
            <a:avLst/>
          </a:prstGeom>
          <a:solidFill>
            <a:srgbClr val="3065E6"/>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4" name="Rectangle 43">
            <a:extLst>
              <a:ext uri="{FF2B5EF4-FFF2-40B4-BE49-F238E27FC236}">
                <a16:creationId xmlns:a16="http://schemas.microsoft.com/office/drawing/2014/main" id="{1D94DE76-CC6A-1B50-D4FC-AC1E438B6F10}"/>
              </a:ext>
            </a:extLst>
          </p:cNvPr>
          <p:cNvSpPr/>
          <p:nvPr>
            <p:custDataLst>
              <p:tags r:id="rId15"/>
            </p:custDataLst>
          </p:nvPr>
        </p:nvSpPr>
        <p:spPr bwMode="auto">
          <a:xfrm>
            <a:off x="8474075" y="5495925"/>
            <a:ext cx="214313" cy="160338"/>
          </a:xfrm>
          <a:prstGeom prst="rect">
            <a:avLst/>
          </a:prstGeom>
          <a:solidFill>
            <a:srgbClr val="7907B1"/>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5" name="Rectangle 44">
            <a:extLst>
              <a:ext uri="{FF2B5EF4-FFF2-40B4-BE49-F238E27FC236}">
                <a16:creationId xmlns:a16="http://schemas.microsoft.com/office/drawing/2014/main" id="{A4324171-2708-3F92-565E-80BEC4B26C2A}"/>
              </a:ext>
            </a:extLst>
          </p:cNvPr>
          <p:cNvSpPr/>
          <p:nvPr>
            <p:custDataLst>
              <p:tags r:id="rId16"/>
            </p:custDataLst>
          </p:nvPr>
        </p:nvSpPr>
        <p:spPr bwMode="auto">
          <a:xfrm>
            <a:off x="8474075" y="5729288"/>
            <a:ext cx="214313" cy="160338"/>
          </a:xfrm>
          <a:prstGeom prst="rect">
            <a:avLst/>
          </a:prstGeom>
          <a:solidFill>
            <a:srgbClr val="EC9733"/>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6" name="Rectangle 45">
            <a:extLst>
              <a:ext uri="{FF2B5EF4-FFF2-40B4-BE49-F238E27FC236}">
                <a16:creationId xmlns:a16="http://schemas.microsoft.com/office/drawing/2014/main" id="{B9672D93-6093-D45A-8FBC-E3CDE6906F19}"/>
              </a:ext>
            </a:extLst>
          </p:cNvPr>
          <p:cNvSpPr/>
          <p:nvPr>
            <p:custDataLst>
              <p:tags r:id="rId17"/>
            </p:custDataLst>
          </p:nvPr>
        </p:nvSpPr>
        <p:spPr bwMode="auto">
          <a:xfrm>
            <a:off x="8474075" y="5962650"/>
            <a:ext cx="214313" cy="160338"/>
          </a:xfrm>
          <a:prstGeom prst="rect">
            <a:avLst/>
          </a:prstGeom>
          <a:solidFill>
            <a:srgbClr val="FCD927"/>
          </a:solidFill>
          <a:ln w="3175" cap="flat" cmpd="sng" algn="ctr">
            <a:solidFill>
              <a:srgbClr val="FFFFF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47" name="Google Shape;11;p20">
            <a:extLst>
              <a:ext uri="{FF2B5EF4-FFF2-40B4-BE49-F238E27FC236}">
                <a16:creationId xmlns:a16="http://schemas.microsoft.com/office/drawing/2014/main" id="{45B3C1A7-68EC-2E5F-772F-9C4916330ADE}"/>
              </a:ext>
            </a:extLst>
          </p:cNvPr>
          <p:cNvSpPr txBox="1">
            <a:spLocks noGrp="1"/>
          </p:cNvSpPr>
          <p:nvPr>
            <p:custDataLst>
              <p:tags r:id="rId18"/>
            </p:custDataLst>
          </p:nvPr>
        </p:nvSpPr>
        <p:spPr bwMode="auto">
          <a:xfrm>
            <a:off x="6780213" y="5491163"/>
            <a:ext cx="582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98515D6C-A233-4066-8021-9CA864D269E8}" type="datetime'''''''''B''''i''o''''''''m''''''''''''''''as''''''''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Biomas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48" name="Google Shape;11;p20">
            <a:extLst>
              <a:ext uri="{FF2B5EF4-FFF2-40B4-BE49-F238E27FC236}">
                <a16:creationId xmlns:a16="http://schemas.microsoft.com/office/drawing/2014/main" id="{A9688FD1-77D1-4445-17CF-E94EF7E60E02}"/>
              </a:ext>
            </a:extLst>
          </p:cNvPr>
          <p:cNvSpPr txBox="1">
            <a:spLocks noGrp="1"/>
          </p:cNvSpPr>
          <p:nvPr>
            <p:custDataLst>
              <p:tags r:id="rId19"/>
            </p:custDataLst>
          </p:nvPr>
        </p:nvSpPr>
        <p:spPr bwMode="auto">
          <a:xfrm>
            <a:off x="6780212" y="5724525"/>
            <a:ext cx="4841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F203066C-B5F2-41C4-86C1-CD1094E08333}" type="datetime'''''M''''''''''''''et''''al''''''''''''''''''''''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Metal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49" name="Google Shape;11;p20">
            <a:extLst>
              <a:ext uri="{FF2B5EF4-FFF2-40B4-BE49-F238E27FC236}">
                <a16:creationId xmlns:a16="http://schemas.microsoft.com/office/drawing/2014/main" id="{239CE047-F157-1A52-39DB-440FB681A230}"/>
              </a:ext>
            </a:extLst>
          </p:cNvPr>
          <p:cNvSpPr txBox="1">
            <a:spLocks noGrp="1"/>
          </p:cNvSpPr>
          <p:nvPr>
            <p:custDataLst>
              <p:tags r:id="rId20"/>
            </p:custDataLst>
          </p:nvPr>
        </p:nvSpPr>
        <p:spPr bwMode="auto">
          <a:xfrm>
            <a:off x="6780213" y="5957888"/>
            <a:ext cx="15922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F166162A-6B7C-4090-988C-3D2EDEAD84CE}" type="datetime'No''''''n-m''''''e''''''''t''a''l''''''lic'''' miner''a''''l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Non-metallic mineral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50" name="Google Shape;11;p20">
            <a:extLst>
              <a:ext uri="{FF2B5EF4-FFF2-40B4-BE49-F238E27FC236}">
                <a16:creationId xmlns:a16="http://schemas.microsoft.com/office/drawing/2014/main" id="{61ADC1CB-2973-B978-8DD1-287A772A6456}"/>
              </a:ext>
            </a:extLst>
          </p:cNvPr>
          <p:cNvSpPr txBox="1">
            <a:spLocks noGrp="1"/>
          </p:cNvSpPr>
          <p:nvPr>
            <p:custDataLst>
              <p:tags r:id="rId21"/>
            </p:custDataLst>
          </p:nvPr>
        </p:nvSpPr>
        <p:spPr bwMode="auto">
          <a:xfrm>
            <a:off x="8739188" y="5491163"/>
            <a:ext cx="1092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B97651A5-338C-418A-9CEE-F7B3528B561C}" type="datetime'''''Fos''''''''s''''il'''' r''es''ou''rc''e''''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Fossil resource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51" name="Google Shape;11;p20">
            <a:extLst>
              <a:ext uri="{FF2B5EF4-FFF2-40B4-BE49-F238E27FC236}">
                <a16:creationId xmlns:a16="http://schemas.microsoft.com/office/drawing/2014/main" id="{1B1BE032-E4FC-1496-1B12-1E34162215E0}"/>
              </a:ext>
            </a:extLst>
          </p:cNvPr>
          <p:cNvSpPr txBox="1">
            <a:spLocks noGrp="1"/>
          </p:cNvSpPr>
          <p:nvPr>
            <p:custDataLst>
              <p:tags r:id="rId22"/>
            </p:custDataLst>
          </p:nvPr>
        </p:nvSpPr>
        <p:spPr bwMode="auto">
          <a:xfrm>
            <a:off x="8739188" y="5724525"/>
            <a:ext cx="1546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EED35594-4600-411F-87BD-6A05C8C479F7}" type="datetime'R''e''''''''mai''nin''''''g'''' ''e''c''on''''''o''m''y'''">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Remaining economy</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52" name="Google Shape;11;p20">
            <a:extLst>
              <a:ext uri="{FF2B5EF4-FFF2-40B4-BE49-F238E27FC236}">
                <a16:creationId xmlns:a16="http://schemas.microsoft.com/office/drawing/2014/main" id="{D73515ED-26DE-A51A-807F-89715209DDFE}"/>
              </a:ext>
            </a:extLst>
          </p:cNvPr>
          <p:cNvSpPr txBox="1">
            <a:spLocks noGrp="1"/>
          </p:cNvSpPr>
          <p:nvPr>
            <p:custDataLst>
              <p:tags r:id="rId23"/>
            </p:custDataLst>
          </p:nvPr>
        </p:nvSpPr>
        <p:spPr bwMode="auto">
          <a:xfrm>
            <a:off x="8739188" y="5957888"/>
            <a:ext cx="8413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spcFirstLastPara="1" vert="horz" wrap="non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fld id="{F6D23D7D-727B-4702-AC96-507D20A93BC9}" type="datetime'''''Ho''''''''''''us''eh''ol''''''''d''''''''s'''''''">
              <a:rPr kumimoji="0" lang="en-US" altLang="en-US" sz="1200" b="0" i="0" u="none" strike="noStrike" kern="1200" cap="none" spc="0" normalizeH="0" baseline="0" noProof="0" smtClean="0">
                <a:ln>
                  <a:noFill/>
                </a:ln>
                <a:solidFill>
                  <a:srgbClr val="000000"/>
                </a:solidFill>
                <a:effectLst/>
                <a:uLnTx/>
                <a:uFillTx/>
                <a:latin typeface="Century Gothic"/>
                <a:ea typeface="+mn-ea"/>
                <a:cs typeface="Arial"/>
                <a:sym typeface="Arial"/>
              </a:rPr>
              <a:pPr marL="0" marR="0" lvl="0" indent="0" algn="l" defTabSz="914400" rtl="0" eaLnBrk="1" fontAlgn="auto" latinLnBrk="0" hangingPunct="1">
                <a:lnSpc>
                  <a:spcPct val="100000"/>
                </a:lnSpc>
                <a:spcBef>
                  <a:spcPct val="0"/>
                </a:spcBef>
                <a:spcAft>
                  <a:spcPct val="0"/>
                </a:spcAft>
                <a:buClr>
                  <a:srgbClr val="000000"/>
                </a:buClr>
                <a:buSzTx/>
                <a:buFont typeface="Arial"/>
                <a:buNone/>
                <a:tabLst/>
                <a:defRPr/>
              </a:pPr>
              <a:t>Households</a:t>
            </a:fld>
            <a:endParaRPr kumimoji="0" lang="en-US" sz="1200" b="0" i="0" u="none" strike="noStrike" kern="1200" cap="none" spc="0" normalizeH="0" baseline="0" noProof="0" dirty="0">
              <a:ln>
                <a:noFill/>
              </a:ln>
              <a:solidFill>
                <a:srgbClr val="000000"/>
              </a:solidFill>
              <a:effectLst/>
              <a:uLnTx/>
              <a:uFillTx/>
              <a:latin typeface="Century Gothic"/>
              <a:ea typeface="+mn-ea"/>
              <a:cs typeface="Arial"/>
              <a:sym typeface="Arial"/>
            </a:endParaRPr>
          </a:p>
        </p:txBody>
      </p:sp>
      <p:sp>
        <p:nvSpPr>
          <p:cNvPr id="53" name="Google Shape;358;p8">
            <a:extLst>
              <a:ext uri="{FF2B5EF4-FFF2-40B4-BE49-F238E27FC236}">
                <a16:creationId xmlns:a16="http://schemas.microsoft.com/office/drawing/2014/main" id="{48B65C56-47B4-24DF-965D-A3CB67654075}"/>
              </a:ext>
            </a:extLst>
          </p:cNvPr>
          <p:cNvSpPr txBox="1">
            <a:spLocks/>
          </p:cNvSpPr>
          <p:nvPr/>
        </p:nvSpPr>
        <p:spPr>
          <a:xfrm>
            <a:off x="5605463" y="5446713"/>
            <a:ext cx="873125" cy="511175"/>
          </a:xfrm>
          <a:prstGeom prst="rect">
            <a:avLst/>
          </a:prstGeom>
          <a:noFill/>
          <a:ln>
            <a:noFill/>
          </a:ln>
        </p:spPr>
        <p:txBody>
          <a:bodyPr spcFirstLastPara="1" wrap="square" lIns="72000" tIns="36000" rIns="72000" bIns="36000" anchor="t"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Sector grouping</a:t>
            </a:r>
          </a:p>
        </p:txBody>
      </p:sp>
      <p:sp>
        <p:nvSpPr>
          <p:cNvPr id="54" name="Left Brace 53">
            <a:extLst>
              <a:ext uri="{FF2B5EF4-FFF2-40B4-BE49-F238E27FC236}">
                <a16:creationId xmlns:a16="http://schemas.microsoft.com/office/drawing/2014/main" id="{403D2AB4-CB9F-BABA-DFD3-5C028C6F2A2E}"/>
              </a:ext>
            </a:extLst>
          </p:cNvPr>
          <p:cNvSpPr>
            <a:spLocks/>
          </p:cNvSpPr>
          <p:nvPr/>
        </p:nvSpPr>
        <p:spPr>
          <a:xfrm rot="5400000" flipH="1">
            <a:off x="5500422" y="4003566"/>
            <a:ext cx="179916" cy="1649413"/>
          </a:xfrm>
          <a:prstGeom prst="leftBrace">
            <a:avLst>
              <a:gd name="adj1" fmla="val 409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55" name="Google Shape;358;p8">
            <a:extLst>
              <a:ext uri="{FF2B5EF4-FFF2-40B4-BE49-F238E27FC236}">
                <a16:creationId xmlns:a16="http://schemas.microsoft.com/office/drawing/2014/main" id="{249AFD29-3012-465A-63EF-A01DA135BF7B}"/>
              </a:ext>
            </a:extLst>
          </p:cNvPr>
          <p:cNvSpPr txBox="1">
            <a:spLocks/>
          </p:cNvSpPr>
          <p:nvPr/>
        </p:nvSpPr>
        <p:spPr>
          <a:xfrm>
            <a:off x="4757514" y="4929078"/>
            <a:ext cx="1585455" cy="511285"/>
          </a:xfrm>
          <a:prstGeom prst="rect">
            <a:avLst/>
          </a:prstGeom>
          <a:noFill/>
          <a:ln>
            <a:noFill/>
          </a:ln>
        </p:spPr>
        <p:txBody>
          <a:bodyPr spcFirstLastPara="1" wrap="square" lIns="72000" tIns="36000" rIns="72000" bIns="36000" anchor="t" anchorCtr="0">
            <a:spAutoFit/>
          </a:bodyPr>
          <a:lstStyle/>
          <a:p>
            <a:pPr marL="457200" marR="0" lvl="1" indent="0" algn="l"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Climate change</a:t>
            </a:r>
          </a:p>
        </p:txBody>
      </p:sp>
      <p:sp>
        <p:nvSpPr>
          <p:cNvPr id="56" name="Left Brace 55">
            <a:extLst>
              <a:ext uri="{FF2B5EF4-FFF2-40B4-BE49-F238E27FC236}">
                <a16:creationId xmlns:a16="http://schemas.microsoft.com/office/drawing/2014/main" id="{577F5AF8-5A4A-2929-67F7-0AE07F8A4AC3}"/>
              </a:ext>
            </a:extLst>
          </p:cNvPr>
          <p:cNvSpPr/>
          <p:nvPr/>
        </p:nvSpPr>
        <p:spPr>
          <a:xfrm rot="5400000" flipH="1">
            <a:off x="6860910" y="4394091"/>
            <a:ext cx="179916" cy="868363"/>
          </a:xfrm>
          <a:prstGeom prst="leftBrace">
            <a:avLst>
              <a:gd name="adj1" fmla="val 409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58" name="Left Brace 57">
            <a:extLst>
              <a:ext uri="{FF2B5EF4-FFF2-40B4-BE49-F238E27FC236}">
                <a16:creationId xmlns:a16="http://schemas.microsoft.com/office/drawing/2014/main" id="{8BBF6178-0335-CCE8-2615-02EF942AF01B}"/>
              </a:ext>
            </a:extLst>
          </p:cNvPr>
          <p:cNvSpPr>
            <a:spLocks/>
          </p:cNvSpPr>
          <p:nvPr/>
        </p:nvSpPr>
        <p:spPr>
          <a:xfrm rot="5400000" flipH="1">
            <a:off x="11016985" y="4003566"/>
            <a:ext cx="179916" cy="1649413"/>
          </a:xfrm>
          <a:prstGeom prst="leftBrace">
            <a:avLst>
              <a:gd name="adj1" fmla="val 409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59" name="Google Shape;358;p8">
            <a:extLst>
              <a:ext uri="{FF2B5EF4-FFF2-40B4-BE49-F238E27FC236}">
                <a16:creationId xmlns:a16="http://schemas.microsoft.com/office/drawing/2014/main" id="{459F41CF-75B4-E9D8-AD5A-01F22EF9DBAD}"/>
              </a:ext>
            </a:extLst>
          </p:cNvPr>
          <p:cNvSpPr txBox="1">
            <a:spLocks/>
          </p:cNvSpPr>
          <p:nvPr/>
        </p:nvSpPr>
        <p:spPr>
          <a:xfrm>
            <a:off x="6447261" y="5005392"/>
            <a:ext cx="1007214" cy="311230"/>
          </a:xfrm>
          <a:prstGeom prst="rect">
            <a:avLst/>
          </a:prstGeom>
          <a:noFill/>
          <a:ln>
            <a:noFill/>
          </a:ln>
        </p:spPr>
        <p:txBody>
          <a:bodyPr spcFirstLastPara="1" wrap="square" lIns="72000" tIns="36000" rIns="72000" bIns="36000" anchor="t"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Pollution</a:t>
            </a:r>
          </a:p>
        </p:txBody>
      </p:sp>
      <p:sp>
        <p:nvSpPr>
          <p:cNvPr id="60" name="Google Shape;358;p8">
            <a:extLst>
              <a:ext uri="{FF2B5EF4-FFF2-40B4-BE49-F238E27FC236}">
                <a16:creationId xmlns:a16="http://schemas.microsoft.com/office/drawing/2014/main" id="{0F4667EF-6D84-853B-CF95-315AF74BA6B3}"/>
              </a:ext>
            </a:extLst>
          </p:cNvPr>
          <p:cNvSpPr txBox="1">
            <a:spLocks/>
          </p:cNvSpPr>
          <p:nvPr/>
        </p:nvSpPr>
        <p:spPr>
          <a:xfrm>
            <a:off x="8676405" y="4929078"/>
            <a:ext cx="1107935" cy="511285"/>
          </a:xfrm>
          <a:prstGeom prst="rect">
            <a:avLst/>
          </a:prstGeom>
          <a:noFill/>
          <a:ln>
            <a:noFill/>
          </a:ln>
        </p:spPr>
        <p:txBody>
          <a:bodyPr spcFirstLastPara="1" vert="horz" wrap="square" lIns="72000" tIns="36000" rIns="72000" bIns="36000" anchor="t"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Biodiversity loss</a:t>
            </a:r>
          </a:p>
        </p:txBody>
      </p:sp>
      <p:sp>
        <p:nvSpPr>
          <p:cNvPr id="61" name="Google Shape;358;p8">
            <a:extLst>
              <a:ext uri="{FF2B5EF4-FFF2-40B4-BE49-F238E27FC236}">
                <a16:creationId xmlns:a16="http://schemas.microsoft.com/office/drawing/2014/main" id="{CF6F950E-7D67-2D78-DAF4-235A32CEE996}"/>
              </a:ext>
            </a:extLst>
          </p:cNvPr>
          <p:cNvSpPr txBox="1">
            <a:spLocks/>
          </p:cNvSpPr>
          <p:nvPr/>
        </p:nvSpPr>
        <p:spPr>
          <a:xfrm>
            <a:off x="10553473" y="4929078"/>
            <a:ext cx="1107935" cy="511285"/>
          </a:xfrm>
          <a:prstGeom prst="rect">
            <a:avLst/>
          </a:prstGeom>
          <a:noFill/>
          <a:ln>
            <a:noFill/>
          </a:ln>
        </p:spPr>
        <p:txBody>
          <a:bodyPr spcFirstLastPara="1" vert="horz" wrap="square" lIns="72000" tIns="36000" rIns="72000" bIns="36000" anchor="t"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Economic Impacts</a:t>
            </a:r>
          </a:p>
        </p:txBody>
      </p:sp>
      <p:sp>
        <p:nvSpPr>
          <p:cNvPr id="62" name="Rectangle 61">
            <a:extLst>
              <a:ext uri="{FF2B5EF4-FFF2-40B4-BE49-F238E27FC236}">
                <a16:creationId xmlns:a16="http://schemas.microsoft.com/office/drawing/2014/main" id="{DEC113C5-A17C-E048-B39E-904592213274}"/>
              </a:ext>
            </a:extLst>
          </p:cNvPr>
          <p:cNvSpPr>
            <a:spLocks noChangeAspect="1"/>
          </p:cNvSpPr>
          <p:nvPr/>
        </p:nvSpPr>
        <p:spPr>
          <a:xfrm>
            <a:off x="4846319" y="2117725"/>
            <a:ext cx="1524087" cy="1665288"/>
          </a:xfrm>
          <a:prstGeom prst="rect">
            <a:avLst/>
          </a:prstGeom>
          <a:noFill/>
          <a:ln w="28575">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3" name="Rectangle 62">
            <a:extLst>
              <a:ext uri="{FF2B5EF4-FFF2-40B4-BE49-F238E27FC236}">
                <a16:creationId xmlns:a16="http://schemas.microsoft.com/office/drawing/2014/main" id="{E3F1B728-66B8-495B-907E-369218A5225D}"/>
              </a:ext>
            </a:extLst>
          </p:cNvPr>
          <p:cNvSpPr>
            <a:spLocks noChangeAspect="1"/>
          </p:cNvSpPr>
          <p:nvPr/>
        </p:nvSpPr>
        <p:spPr>
          <a:xfrm>
            <a:off x="6669025" y="2697162"/>
            <a:ext cx="573193" cy="1085850"/>
          </a:xfrm>
          <a:prstGeom prst="rect">
            <a:avLst/>
          </a:prstGeom>
          <a:noFill/>
          <a:ln w="28575">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4" name="Rectangle 63">
            <a:extLst>
              <a:ext uri="{FF2B5EF4-FFF2-40B4-BE49-F238E27FC236}">
                <a16:creationId xmlns:a16="http://schemas.microsoft.com/office/drawing/2014/main" id="{F8D7528A-51D6-02AE-39C3-3060D13DA4B5}"/>
              </a:ext>
            </a:extLst>
          </p:cNvPr>
          <p:cNvSpPr>
            <a:spLocks noChangeAspect="1"/>
          </p:cNvSpPr>
          <p:nvPr/>
        </p:nvSpPr>
        <p:spPr>
          <a:xfrm>
            <a:off x="7570027" y="1179513"/>
            <a:ext cx="2372021" cy="2603500"/>
          </a:xfrm>
          <a:prstGeom prst="rect">
            <a:avLst/>
          </a:prstGeom>
          <a:noFill/>
          <a:ln w="28575">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6" name="Left Brace 75">
            <a:extLst>
              <a:ext uri="{FF2B5EF4-FFF2-40B4-BE49-F238E27FC236}">
                <a16:creationId xmlns:a16="http://schemas.microsoft.com/office/drawing/2014/main" id="{6596C42A-2520-85D4-16AD-809ADDC5A8A0}"/>
              </a:ext>
            </a:extLst>
          </p:cNvPr>
          <p:cNvSpPr/>
          <p:nvPr/>
        </p:nvSpPr>
        <p:spPr>
          <a:xfrm rot="5400000" flipH="1">
            <a:off x="7771510" y="4497364"/>
            <a:ext cx="179918" cy="683510"/>
          </a:xfrm>
          <a:prstGeom prst="leftBrace">
            <a:avLst>
              <a:gd name="adj1" fmla="val 409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7" name="Google Shape;358;p8">
            <a:extLst>
              <a:ext uri="{FF2B5EF4-FFF2-40B4-BE49-F238E27FC236}">
                <a16:creationId xmlns:a16="http://schemas.microsoft.com/office/drawing/2014/main" id="{5F88E3FA-91AF-232F-85A2-51CCB28A358F}"/>
              </a:ext>
            </a:extLst>
          </p:cNvPr>
          <p:cNvSpPr txBox="1">
            <a:spLocks/>
          </p:cNvSpPr>
          <p:nvPr/>
        </p:nvSpPr>
        <p:spPr>
          <a:xfrm>
            <a:off x="7385050" y="5000550"/>
            <a:ext cx="1007214" cy="311230"/>
          </a:xfrm>
          <a:prstGeom prst="rect">
            <a:avLst/>
          </a:prstGeom>
          <a:noFill/>
          <a:ln>
            <a:noFill/>
          </a:ln>
        </p:spPr>
        <p:txBody>
          <a:bodyPr spcFirstLastPara="1" wrap="square" lIns="72000" tIns="36000" rIns="72000" bIns="36000" anchor="t" anchorCtr="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Bebas Kai"/>
                <a:ea typeface="Century Gothic" panose="020B0502020202020204" pitchFamily="34" charset="0"/>
                <a:cs typeface="+mn-cs"/>
              </a:rPr>
              <a:t>Water</a:t>
            </a:r>
          </a:p>
        </p:txBody>
      </p:sp>
      <p:sp>
        <p:nvSpPr>
          <p:cNvPr id="78" name="Left Brace 77">
            <a:extLst>
              <a:ext uri="{FF2B5EF4-FFF2-40B4-BE49-F238E27FC236}">
                <a16:creationId xmlns:a16="http://schemas.microsoft.com/office/drawing/2014/main" id="{1CA3A891-65E8-15F5-ED53-993A67080A3B}"/>
              </a:ext>
            </a:extLst>
          </p:cNvPr>
          <p:cNvSpPr>
            <a:spLocks/>
          </p:cNvSpPr>
          <p:nvPr/>
        </p:nvSpPr>
        <p:spPr>
          <a:xfrm rot="5400000" flipH="1">
            <a:off x="9159032" y="4012500"/>
            <a:ext cx="179916" cy="1649413"/>
          </a:xfrm>
          <a:prstGeom prst="leftBrace">
            <a:avLst>
              <a:gd name="adj1" fmla="val 409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9" name="Text Placeholder 4">
            <a:extLst>
              <a:ext uri="{FF2B5EF4-FFF2-40B4-BE49-F238E27FC236}">
                <a16:creationId xmlns:a16="http://schemas.microsoft.com/office/drawing/2014/main" id="{2276D572-0CB4-3A00-774A-82855BE6084A}"/>
              </a:ext>
            </a:extLst>
          </p:cNvPr>
          <p:cNvSpPr>
            <a:spLocks noGrp="1"/>
          </p:cNvSpPr>
          <p:nvPr>
            <p:ph type="body" sz="quarter" idx="13"/>
          </p:nvPr>
        </p:nvSpPr>
        <p:spPr>
          <a:xfrm>
            <a:off x="642795" y="6318940"/>
            <a:ext cx="9463189" cy="359672"/>
          </a:xfrm>
        </p:spPr>
        <p:txBody>
          <a:bodyPr/>
          <a:lstStyle/>
          <a:p>
            <a:r>
              <a:rPr lang="en-GB" dirty="0"/>
              <a:t>Source: International Resource Panel (2024), Global Resources Outlook 2024 (https://www.resourcepanel.org/reports/global-resources-outlook-2024)</a:t>
            </a:r>
          </a:p>
        </p:txBody>
      </p:sp>
      <p:sp>
        <p:nvSpPr>
          <p:cNvPr id="80" name="Rectangle 79">
            <a:extLst>
              <a:ext uri="{FF2B5EF4-FFF2-40B4-BE49-F238E27FC236}">
                <a16:creationId xmlns:a16="http://schemas.microsoft.com/office/drawing/2014/main" id="{BA69280E-C21D-596F-DE80-F399A07DF774}"/>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pic>
        <p:nvPicPr>
          <p:cNvPr id="85" name="Picture 2">
            <a:extLst>
              <a:ext uri="{FF2B5EF4-FFF2-40B4-BE49-F238E27FC236}">
                <a16:creationId xmlns:a16="http://schemas.microsoft.com/office/drawing/2014/main" id="{4D152152-FBE4-D580-C667-B24AC301002F}"/>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l="5195" t="4270" r="10287" b="16154"/>
          <a:stretch/>
        </p:blipFill>
        <p:spPr bwMode="auto">
          <a:xfrm>
            <a:off x="1047728" y="1692619"/>
            <a:ext cx="2018786" cy="2284068"/>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47E2ECA5-2168-D1E5-FB3F-4C5DC1BCFA3F}"/>
              </a:ext>
            </a:extLst>
          </p:cNvPr>
          <p:cNvSpPr/>
          <p:nvPr/>
        </p:nvSpPr>
        <p:spPr>
          <a:xfrm>
            <a:off x="914400" y="2402006"/>
            <a:ext cx="2301240" cy="161913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2485657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62" grpId="0" animBg="1"/>
      <p:bldP spid="63" grpId="0" animBg="1"/>
      <p:bldP spid="6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451017A-8BF3-4CAD-28D2-92A62E00DAEF}"/>
              </a:ext>
            </a:extLst>
          </p:cNvPr>
          <p:cNvGraphicFramePr>
            <a:graphicFrameLocks noChangeAspect="1"/>
          </p:cNvGraphicFramePr>
          <p:nvPr>
            <p:custDataLst>
              <p:tags r:id="rId1"/>
            </p:custDataLst>
            <p:extLst>
              <p:ext uri="{D42A27DB-BD31-4B8C-83A1-F6EECF244321}">
                <p14:modId xmlns:p14="http://schemas.microsoft.com/office/powerpoint/2010/main" val="32463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14" name="think-cell data - do not delete" hidden="1">
                        <a:extLst>
                          <a:ext uri="{FF2B5EF4-FFF2-40B4-BE49-F238E27FC236}">
                            <a16:creationId xmlns:a16="http://schemas.microsoft.com/office/drawing/2014/main" id="{1451017A-8BF3-4CAD-28D2-92A62E00DA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1BA56E-829F-58E5-F2EB-CDC126D195A2}"/>
              </a:ext>
            </a:extLst>
          </p:cNvPr>
          <p:cNvSpPr>
            <a:spLocks noGrp="1"/>
          </p:cNvSpPr>
          <p:nvPr>
            <p:ph type="title"/>
          </p:nvPr>
        </p:nvSpPr>
        <p:spPr/>
        <p:txBody>
          <a:bodyPr vert="horz">
            <a:normAutofit fontScale="90000"/>
          </a:bodyPr>
          <a:lstStyle/>
          <a:p>
            <a:r>
              <a:rPr lang="en-GB" dirty="0"/>
              <a:t>Impacts are increasing, and massively exceed globally agreed targets</a:t>
            </a:r>
          </a:p>
        </p:txBody>
      </p:sp>
      <p:grpSp>
        <p:nvGrpSpPr>
          <p:cNvPr id="23" name="Group 22">
            <a:extLst>
              <a:ext uri="{FF2B5EF4-FFF2-40B4-BE49-F238E27FC236}">
                <a16:creationId xmlns:a16="http://schemas.microsoft.com/office/drawing/2014/main" id="{41D016C2-F1F2-BC19-0876-26714CB95066}"/>
              </a:ext>
            </a:extLst>
          </p:cNvPr>
          <p:cNvGrpSpPr/>
          <p:nvPr/>
        </p:nvGrpSpPr>
        <p:grpSpPr>
          <a:xfrm>
            <a:off x="385871" y="746181"/>
            <a:ext cx="11418669" cy="4886394"/>
            <a:chOff x="226987" y="533745"/>
            <a:chExt cx="11418669" cy="4886394"/>
          </a:xfrm>
        </p:grpSpPr>
        <p:pic>
          <p:nvPicPr>
            <p:cNvPr id="6" name="Google Shape;198;p10">
              <a:extLst>
                <a:ext uri="{FF2B5EF4-FFF2-40B4-BE49-F238E27FC236}">
                  <a16:creationId xmlns:a16="http://schemas.microsoft.com/office/drawing/2014/main" id="{4713E28B-601C-8699-ACCC-C7436AC51E4F}"/>
                </a:ext>
              </a:extLst>
            </p:cNvPr>
            <p:cNvPicPr preferRelativeResize="0"/>
            <p:nvPr/>
          </p:nvPicPr>
          <p:blipFill rotWithShape="1">
            <a:blip r:embed="rId6">
              <a:alphaModFix/>
            </a:blip>
            <a:srcRect r="8751"/>
            <a:stretch/>
          </p:blipFill>
          <p:spPr>
            <a:xfrm>
              <a:off x="8427630" y="1182228"/>
              <a:ext cx="3218026" cy="4237911"/>
            </a:xfrm>
            <a:prstGeom prst="rect">
              <a:avLst/>
            </a:prstGeom>
            <a:noFill/>
            <a:ln>
              <a:noFill/>
            </a:ln>
          </p:spPr>
        </p:pic>
        <p:pic>
          <p:nvPicPr>
            <p:cNvPr id="7" name="Google Shape;202;p10">
              <a:extLst>
                <a:ext uri="{FF2B5EF4-FFF2-40B4-BE49-F238E27FC236}">
                  <a16:creationId xmlns:a16="http://schemas.microsoft.com/office/drawing/2014/main" id="{8EF3BF34-52FA-A824-0C01-A86D619CE25C}"/>
                </a:ext>
              </a:extLst>
            </p:cNvPr>
            <p:cNvPicPr preferRelativeResize="0"/>
            <p:nvPr/>
          </p:nvPicPr>
          <p:blipFill rotWithShape="1">
            <a:blip r:embed="rId7">
              <a:alphaModFix/>
            </a:blip>
            <a:srcRect r="24791"/>
            <a:stretch/>
          </p:blipFill>
          <p:spPr>
            <a:xfrm>
              <a:off x="260205" y="1558190"/>
              <a:ext cx="8010106" cy="3741620"/>
            </a:xfrm>
            <a:prstGeom prst="rect">
              <a:avLst/>
            </a:prstGeom>
            <a:noFill/>
            <a:ln>
              <a:noFill/>
            </a:ln>
          </p:spPr>
        </p:pic>
        <p:sp>
          <p:nvSpPr>
            <p:cNvPr id="8" name="Google Shape;203;p10">
              <a:extLst>
                <a:ext uri="{FF2B5EF4-FFF2-40B4-BE49-F238E27FC236}">
                  <a16:creationId xmlns:a16="http://schemas.microsoft.com/office/drawing/2014/main" id="{6ED7C8EC-12F4-0A54-CBD0-61649BFBB601}"/>
                </a:ext>
              </a:extLst>
            </p:cNvPr>
            <p:cNvSpPr/>
            <p:nvPr/>
          </p:nvSpPr>
          <p:spPr>
            <a:xfrm>
              <a:off x="337358" y="5114202"/>
              <a:ext cx="148590" cy="230633"/>
            </a:xfrm>
            <a:prstGeom prst="roundRect">
              <a:avLst>
                <a:gd name="adj" fmla="val 16667"/>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 name="TextBox 8">
              <a:extLst>
                <a:ext uri="{FF2B5EF4-FFF2-40B4-BE49-F238E27FC236}">
                  <a16:creationId xmlns:a16="http://schemas.microsoft.com/office/drawing/2014/main" id="{5F4B9653-DB23-0FB1-7285-EFE785815D9A}"/>
                </a:ext>
              </a:extLst>
            </p:cNvPr>
            <p:cNvSpPr txBox="1"/>
            <p:nvPr/>
          </p:nvSpPr>
          <p:spPr>
            <a:xfrm rot="16200000">
              <a:off x="-1532571" y="2293303"/>
              <a:ext cx="3703782" cy="184666"/>
            </a:xfrm>
            <a:prstGeom prst="rect">
              <a:avLst/>
            </a:prstGeom>
            <a:noFill/>
          </p:spPr>
          <p:txBody>
            <a:bodyPr wrap="square" lIns="0" tIns="0" rIns="0" bIns="0" rtlCol="0">
              <a:spAutoFit/>
            </a:bodyPr>
            <a:lstStyle/>
            <a:p>
              <a:pPr algn="l"/>
              <a:r>
                <a:rPr lang="en-GB" sz="1200" dirty="0">
                  <a:solidFill>
                    <a:schemeClr val="accent5"/>
                  </a:solidFill>
                </a:rPr>
                <a:t>Climate impacts (Gt CO</a:t>
              </a:r>
              <a:r>
                <a:rPr lang="en-GB" sz="1200" baseline="-25000" dirty="0">
                  <a:solidFill>
                    <a:schemeClr val="accent5"/>
                  </a:solidFill>
                </a:rPr>
                <a:t>2</a:t>
              </a:r>
              <a:r>
                <a:rPr lang="en-GB" sz="1200" dirty="0">
                  <a:solidFill>
                    <a:schemeClr val="accent5"/>
                  </a:solidFill>
                </a:rPr>
                <a:t> –</a:t>
              </a:r>
              <a:r>
                <a:rPr lang="en-GB" sz="1200" dirty="0" err="1">
                  <a:solidFill>
                    <a:schemeClr val="accent5"/>
                  </a:solidFill>
                </a:rPr>
                <a:t>eq</a:t>
              </a:r>
              <a:r>
                <a:rPr lang="en-GB" sz="1200" dirty="0">
                  <a:solidFill>
                    <a:schemeClr val="accent5"/>
                  </a:solidFill>
                </a:rPr>
                <a:t>)</a:t>
              </a:r>
            </a:p>
          </p:txBody>
        </p:sp>
        <p:sp>
          <p:nvSpPr>
            <p:cNvPr id="10" name="TextBox 9">
              <a:extLst>
                <a:ext uri="{FF2B5EF4-FFF2-40B4-BE49-F238E27FC236}">
                  <a16:creationId xmlns:a16="http://schemas.microsoft.com/office/drawing/2014/main" id="{AFECDE43-064F-4CE8-B572-ADF8900BAD29}"/>
                </a:ext>
              </a:extLst>
            </p:cNvPr>
            <p:cNvSpPr txBox="1"/>
            <p:nvPr/>
          </p:nvSpPr>
          <p:spPr>
            <a:xfrm rot="16200000">
              <a:off x="6700466" y="3068412"/>
              <a:ext cx="3205110" cy="184666"/>
            </a:xfrm>
            <a:prstGeom prst="rect">
              <a:avLst/>
            </a:prstGeom>
            <a:noFill/>
          </p:spPr>
          <p:txBody>
            <a:bodyPr wrap="square" lIns="0" tIns="0" rIns="0" bIns="0" rtlCol="0">
              <a:spAutoFit/>
            </a:bodyPr>
            <a:lstStyle/>
            <a:p>
              <a:pPr algn="l"/>
              <a:r>
                <a:rPr lang="en-GB" sz="1200" dirty="0">
                  <a:solidFill>
                    <a:schemeClr val="accent5"/>
                  </a:solidFill>
                </a:rPr>
                <a:t>Land-related biodiversity loss (global pdf*)</a:t>
              </a:r>
            </a:p>
          </p:txBody>
        </p:sp>
      </p:grpSp>
      <p:sp>
        <p:nvSpPr>
          <p:cNvPr id="11" name="Text Placeholder 4">
            <a:extLst>
              <a:ext uri="{FF2B5EF4-FFF2-40B4-BE49-F238E27FC236}">
                <a16:creationId xmlns:a16="http://schemas.microsoft.com/office/drawing/2014/main" id="{03409652-4858-84BF-C487-EA763EE4F42D}"/>
              </a:ext>
            </a:extLst>
          </p:cNvPr>
          <p:cNvSpPr>
            <a:spLocks noGrp="1"/>
          </p:cNvSpPr>
          <p:nvPr>
            <p:ph type="body" sz="quarter" idx="13"/>
          </p:nvPr>
        </p:nvSpPr>
        <p:spPr>
          <a:xfrm>
            <a:off x="642897" y="6390393"/>
            <a:ext cx="9463087" cy="360363"/>
          </a:xfrm>
        </p:spPr>
        <p:txBody>
          <a:bodyPr/>
          <a:lstStyle/>
          <a:p>
            <a:r>
              <a:rPr lang="en-GB" dirty="0"/>
              <a:t>Source: International Resource Panel (2024), Global Resources Outlook 2024 (https://www.resourcepanel.org/reports/global-resources-outlook-2024)</a:t>
            </a:r>
          </a:p>
        </p:txBody>
      </p:sp>
      <p:sp>
        <p:nvSpPr>
          <p:cNvPr id="12" name="Rectangle 11">
            <a:extLst>
              <a:ext uri="{FF2B5EF4-FFF2-40B4-BE49-F238E27FC236}">
                <a16:creationId xmlns:a16="http://schemas.microsoft.com/office/drawing/2014/main" id="{4043D7D3-EB07-1A26-8DC9-AF9763FFF784}"/>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22" name="TextBox 21">
            <a:extLst>
              <a:ext uri="{FF2B5EF4-FFF2-40B4-BE49-F238E27FC236}">
                <a16:creationId xmlns:a16="http://schemas.microsoft.com/office/drawing/2014/main" id="{342CFEE7-E12B-F5CD-6138-AF4B46DD741A}"/>
              </a:ext>
            </a:extLst>
          </p:cNvPr>
          <p:cNvSpPr txBox="1"/>
          <p:nvPr/>
        </p:nvSpPr>
        <p:spPr>
          <a:xfrm>
            <a:off x="642897" y="6123653"/>
            <a:ext cx="4335503" cy="266740"/>
          </a:xfrm>
          <a:prstGeom prst="rect">
            <a:avLst/>
          </a:prstGeom>
        </p:spPr>
        <p:txBody>
          <a:bodyPr vert="horz" lIns="0" tIns="0" rIns="0" bIns="0" rtlCol="0" anchor="ctr" anchorCtr="0">
            <a:normAutofit/>
          </a:bodyPr>
          <a:lstStyle>
            <a:defPPr marR="0" lvl="0" algn="l" rtl="0">
              <a:lnSpc>
                <a:spcPct val="100000"/>
              </a:lnSpc>
              <a:spcBef>
                <a:spcPts val="0"/>
              </a:spcBef>
              <a:spcAft>
                <a:spcPts val="0"/>
              </a:spcAft>
            </a:defPPr>
            <a:lvl1pPr indent="0">
              <a:lnSpc>
                <a:spcPct val="90000"/>
              </a:lnSpc>
              <a:spcBef>
                <a:spcPts val="1000"/>
              </a:spcBef>
              <a:buFont typeface="Wingdings" panose="05000000000000000000" pitchFamily="2" charset="2"/>
              <a:buNone/>
              <a:defRPr sz="1000" baseline="0">
                <a:solidFill>
                  <a:schemeClr val="tx1">
                    <a:lumMod val="50000"/>
                    <a:lumOff val="50000"/>
                  </a:schemeClr>
                </a:solidFill>
              </a:defRPr>
            </a:lvl1pPr>
            <a:lvl2pPr marL="360000" indent="-180000">
              <a:lnSpc>
                <a:spcPct val="90000"/>
              </a:lnSpc>
              <a:spcBef>
                <a:spcPts val="500"/>
              </a:spcBef>
              <a:buFont typeface="Wingdings" panose="05000000000000000000" pitchFamily="2" charset="2"/>
              <a:buChar char="§"/>
              <a:defRPr sz="1600"/>
            </a:lvl2pPr>
            <a:lvl3pPr marL="540000" indent="-180000">
              <a:lnSpc>
                <a:spcPct val="90000"/>
              </a:lnSpc>
              <a:spcBef>
                <a:spcPts val="500"/>
              </a:spcBef>
              <a:buFont typeface="Wingdings" panose="05000000000000000000" pitchFamily="2" charset="2"/>
              <a:buChar char="§"/>
              <a:defRPr sz="1600"/>
            </a:lvl3pPr>
            <a:lvl4pPr marL="720000" indent="-180000">
              <a:lnSpc>
                <a:spcPct val="90000"/>
              </a:lnSpc>
              <a:spcBef>
                <a:spcPts val="500"/>
              </a:spcBef>
              <a:buFont typeface="Wingdings" panose="05000000000000000000" pitchFamily="2" charset="2"/>
              <a:buChar char="§"/>
              <a:defRPr sz="1600"/>
            </a:lvl4pPr>
            <a:lvl5pPr marL="900000" indent="-180000">
              <a:lnSpc>
                <a:spcPct val="90000"/>
              </a:lnSpc>
              <a:spcBef>
                <a:spcPts val="500"/>
              </a:spcBef>
              <a:buFont typeface="Wingdings" panose="05000000000000000000" pitchFamily="2" charset="2"/>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 Global pdf: Global potentially disappeared fraction of species</a:t>
            </a:r>
          </a:p>
        </p:txBody>
      </p:sp>
      <p:sp>
        <p:nvSpPr>
          <p:cNvPr id="3" name="TextBox 2">
            <a:extLst>
              <a:ext uri="{FF2B5EF4-FFF2-40B4-BE49-F238E27FC236}">
                <a16:creationId xmlns:a16="http://schemas.microsoft.com/office/drawing/2014/main" id="{96039737-1038-3FA6-F8DA-6189D3FF4227}"/>
              </a:ext>
            </a:extLst>
          </p:cNvPr>
          <p:cNvSpPr txBox="1">
            <a:spLocks/>
          </p:cNvSpPr>
          <p:nvPr/>
        </p:nvSpPr>
        <p:spPr>
          <a:xfrm>
            <a:off x="727857" y="1352519"/>
            <a:ext cx="1679945" cy="246221"/>
          </a:xfrm>
          <a:prstGeom prst="rect">
            <a:avLst/>
          </a:prstGeom>
          <a:noFill/>
        </p:spPr>
        <p:txBody>
          <a:bodyPr wrap="square" lIns="0" tIns="0" rIns="0" bIns="0" rtlCol="0">
            <a:spAutoFit/>
          </a:bodyPr>
          <a:lstStyle/>
          <a:p>
            <a:pPr algn="l"/>
            <a:r>
              <a:rPr lang="en-GB" sz="1600" dirty="0"/>
              <a:t>Climate impact</a:t>
            </a:r>
          </a:p>
        </p:txBody>
      </p:sp>
      <p:sp>
        <p:nvSpPr>
          <p:cNvPr id="4" name="TextBox 3">
            <a:extLst>
              <a:ext uri="{FF2B5EF4-FFF2-40B4-BE49-F238E27FC236}">
                <a16:creationId xmlns:a16="http://schemas.microsoft.com/office/drawing/2014/main" id="{57E4D1D8-3922-5F08-2AF4-F0A0005122BB}"/>
              </a:ext>
            </a:extLst>
          </p:cNvPr>
          <p:cNvSpPr txBox="1">
            <a:spLocks/>
          </p:cNvSpPr>
          <p:nvPr/>
        </p:nvSpPr>
        <p:spPr>
          <a:xfrm>
            <a:off x="4824936" y="1352519"/>
            <a:ext cx="2309511" cy="246221"/>
          </a:xfrm>
          <a:prstGeom prst="rect">
            <a:avLst/>
          </a:prstGeom>
          <a:noFill/>
        </p:spPr>
        <p:txBody>
          <a:bodyPr wrap="square" lIns="0" tIns="0" rIns="0" bIns="0" rtlCol="0">
            <a:spAutoFit/>
          </a:bodyPr>
          <a:lstStyle/>
          <a:p>
            <a:pPr algn="l"/>
            <a:r>
              <a:rPr lang="en-GB" sz="1600" dirty="0"/>
              <a:t>Biodiversity impact</a:t>
            </a:r>
          </a:p>
        </p:txBody>
      </p:sp>
    </p:spTree>
    <p:extLst>
      <p:ext uri="{BB962C8B-B14F-4D97-AF65-F5344CB8AC3E}">
        <p14:creationId xmlns:p14="http://schemas.microsoft.com/office/powerpoint/2010/main" val="1151365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BB853FE-C397-2068-BF03-45773F056C25}"/>
              </a:ext>
            </a:extLst>
          </p:cNvPr>
          <p:cNvGraphicFramePr>
            <a:graphicFrameLocks noChangeAspect="1"/>
          </p:cNvGraphicFramePr>
          <p:nvPr>
            <p:custDataLst>
              <p:tags r:id="rId1"/>
            </p:custDataLst>
            <p:extLst>
              <p:ext uri="{D42A27DB-BD31-4B8C-83A1-F6EECF244321}">
                <p14:modId xmlns:p14="http://schemas.microsoft.com/office/powerpoint/2010/main" val="124630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7" name="think-cell data - do not delete" hidden="1">
                        <a:extLst>
                          <a:ext uri="{FF2B5EF4-FFF2-40B4-BE49-F238E27FC236}">
                            <a16:creationId xmlns:a16="http://schemas.microsoft.com/office/drawing/2014/main" id="{1BB853FE-C397-2068-BF03-45773F056C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C015A46-D13B-025E-0E87-229EFD96E7F2}"/>
              </a:ext>
            </a:extLst>
          </p:cNvPr>
          <p:cNvSpPr>
            <a:spLocks noGrp="1"/>
          </p:cNvSpPr>
          <p:nvPr>
            <p:ph type="title"/>
          </p:nvPr>
        </p:nvSpPr>
        <p:spPr/>
        <p:txBody>
          <a:bodyPr vert="horz">
            <a:normAutofit fontScale="90000"/>
          </a:bodyPr>
          <a:lstStyle/>
          <a:p>
            <a:r>
              <a:rPr lang="en-GB" dirty="0"/>
              <a:t>Resources should be targeted to human needs through </a:t>
            </a:r>
            <a:r>
              <a:rPr lang="en-GB" b="1" dirty="0"/>
              <a:t>provisioning systems</a:t>
            </a:r>
          </a:p>
        </p:txBody>
      </p:sp>
      <p:sp>
        <p:nvSpPr>
          <p:cNvPr id="11" name="Rectangle 10">
            <a:extLst>
              <a:ext uri="{FF2B5EF4-FFF2-40B4-BE49-F238E27FC236}">
                <a16:creationId xmlns:a16="http://schemas.microsoft.com/office/drawing/2014/main" id="{30D886DE-8117-A047-E8E0-EEB17423435C}"/>
              </a:ext>
            </a:extLst>
          </p:cNvPr>
          <p:cNvSpPr>
            <a:spLocks/>
          </p:cNvSpPr>
          <p:nvPr/>
        </p:nvSpPr>
        <p:spPr>
          <a:xfrm>
            <a:off x="8599162" y="2364205"/>
            <a:ext cx="3167284" cy="2196909"/>
          </a:xfrm>
          <a:prstGeom prst="rect">
            <a:avLst/>
          </a:prstGeom>
          <a:solidFill>
            <a:srgbClr val="00B0F0"/>
          </a:solidFill>
          <a:ln w="25400" cap="flat" cmpd="sng" algn="ctr">
            <a:noFill/>
            <a:prstDash val="solid"/>
          </a:ln>
          <a:effectLst/>
        </p:spPr>
        <p:txBody>
          <a:bodyPr lIns="0" rIns="0"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Rectangle 11">
            <a:extLst>
              <a:ext uri="{FF2B5EF4-FFF2-40B4-BE49-F238E27FC236}">
                <a16:creationId xmlns:a16="http://schemas.microsoft.com/office/drawing/2014/main" id="{19612D45-54E8-12C3-E66E-C39255FBF360}"/>
              </a:ext>
            </a:extLst>
          </p:cNvPr>
          <p:cNvSpPr>
            <a:spLocks/>
          </p:cNvSpPr>
          <p:nvPr/>
        </p:nvSpPr>
        <p:spPr>
          <a:xfrm>
            <a:off x="485021" y="2364205"/>
            <a:ext cx="3167284" cy="2196909"/>
          </a:xfrm>
          <a:prstGeom prst="rect">
            <a:avLst/>
          </a:prstGeom>
          <a:solidFill>
            <a:srgbClr val="00B0F0"/>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Rectangle 12">
            <a:extLst>
              <a:ext uri="{FF2B5EF4-FFF2-40B4-BE49-F238E27FC236}">
                <a16:creationId xmlns:a16="http://schemas.microsoft.com/office/drawing/2014/main" id="{5F8385A2-8376-8EA2-8605-AE024C1A4368}"/>
              </a:ext>
            </a:extLst>
          </p:cNvPr>
          <p:cNvSpPr>
            <a:spLocks/>
          </p:cNvSpPr>
          <p:nvPr/>
        </p:nvSpPr>
        <p:spPr>
          <a:xfrm>
            <a:off x="4306217" y="2283511"/>
            <a:ext cx="3639038" cy="2196909"/>
          </a:xfrm>
          <a:prstGeom prst="rect">
            <a:avLst/>
          </a:prstGeom>
          <a:solidFill>
            <a:srgbClr val="FFFFFF">
              <a:lumMod val="95000"/>
            </a:srgbClr>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ctangle: Rounded Corners 13">
            <a:extLst>
              <a:ext uri="{FF2B5EF4-FFF2-40B4-BE49-F238E27FC236}">
                <a16:creationId xmlns:a16="http://schemas.microsoft.com/office/drawing/2014/main" id="{A0391B1C-482D-EF04-46C3-ACACBC272066}"/>
              </a:ext>
            </a:extLst>
          </p:cNvPr>
          <p:cNvSpPr>
            <a:spLocks/>
          </p:cNvSpPr>
          <p:nvPr/>
        </p:nvSpPr>
        <p:spPr>
          <a:xfrm>
            <a:off x="4699239" y="2529274"/>
            <a:ext cx="1412638" cy="794716"/>
          </a:xfrm>
          <a:prstGeom prst="roundRect">
            <a:avLst/>
          </a:prstGeom>
          <a:solidFill>
            <a:srgbClr val="EBEFFF"/>
          </a:solidFill>
          <a:ln w="12700" cap="flat" cmpd="sng" algn="ctr">
            <a:solidFill>
              <a:srgbClr val="00146D"/>
            </a:solidFill>
            <a:prstDash val="sysDot"/>
          </a:ln>
          <a:effectLst/>
        </p:spPr>
        <p:txBody>
          <a:bodyPr lIns="36000" rIns="36000" bIns="108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lang="en-US" sz="1200" b="1" kern="0">
              <a:solidFill>
                <a:srgbClr val="00146D"/>
              </a:solidFill>
              <a:latin typeface="Arial"/>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lang="en-US" sz="1200" b="1" kern="0">
              <a:solidFill>
                <a:srgbClr val="00146D"/>
              </a:solidFill>
              <a:latin typeface="Arial"/>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kumimoji="0" lang="en-US" sz="1200" b="1" i="0" u="none" strike="noStrike" kern="0" cap="none" spc="0" normalizeH="0" baseline="0" noProof="0">
              <a:ln>
                <a:noFill/>
              </a:ln>
              <a:solidFill>
                <a:srgbClr val="00146D"/>
              </a:solidFill>
              <a:effectLst/>
              <a:uLnTx/>
              <a:uFillTx/>
              <a:latin typeface="Arial"/>
              <a:ea typeface="+mn-ea"/>
              <a:cs typeface="+mn-cs"/>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146D"/>
                </a:solidFill>
                <a:effectLst/>
                <a:uLnTx/>
                <a:uFillTx/>
                <a:latin typeface="Arial"/>
                <a:ea typeface="+mn-ea"/>
                <a:cs typeface="+mn-cs"/>
                <a:sym typeface="Arial"/>
              </a:rPr>
              <a:t>Nutrition</a:t>
            </a:r>
          </a:p>
        </p:txBody>
      </p:sp>
      <p:sp>
        <p:nvSpPr>
          <p:cNvPr id="15" name="Rectangle: Rounded Corners 14">
            <a:extLst>
              <a:ext uri="{FF2B5EF4-FFF2-40B4-BE49-F238E27FC236}">
                <a16:creationId xmlns:a16="http://schemas.microsoft.com/office/drawing/2014/main" id="{CFDC7866-1AE2-382D-1663-DBC96BCD90E2}"/>
              </a:ext>
            </a:extLst>
          </p:cNvPr>
          <p:cNvSpPr>
            <a:spLocks/>
          </p:cNvSpPr>
          <p:nvPr/>
        </p:nvSpPr>
        <p:spPr>
          <a:xfrm>
            <a:off x="4699239" y="3381965"/>
            <a:ext cx="1412638" cy="794716"/>
          </a:xfrm>
          <a:prstGeom prst="roundRect">
            <a:avLst/>
          </a:prstGeom>
          <a:solidFill>
            <a:srgbClr val="EBEFFF"/>
          </a:solidFill>
          <a:ln w="12700" cap="flat" cmpd="sng" algn="ctr">
            <a:solidFill>
              <a:srgbClr val="00146D"/>
            </a:solidFill>
            <a:prstDash val="sysDot"/>
          </a:ln>
          <a:effectLst/>
        </p:spPr>
        <p:txBody>
          <a:bodyPr lIns="36000" rIns="36000" bIns="108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146D"/>
                </a:solidFill>
                <a:effectLst/>
                <a:uLnTx/>
                <a:uFillTx/>
                <a:latin typeface="Arial"/>
                <a:ea typeface="+mn-ea"/>
                <a:cs typeface="+mn-cs"/>
                <a:sym typeface="Arial"/>
              </a:rPr>
              <a:t>Mobility</a:t>
            </a:r>
          </a:p>
        </p:txBody>
      </p:sp>
      <p:sp>
        <p:nvSpPr>
          <p:cNvPr id="16" name="Rectangle: Rounded Corners 15">
            <a:extLst>
              <a:ext uri="{FF2B5EF4-FFF2-40B4-BE49-F238E27FC236}">
                <a16:creationId xmlns:a16="http://schemas.microsoft.com/office/drawing/2014/main" id="{49133339-B595-09A6-99AD-203767D0B296}"/>
              </a:ext>
            </a:extLst>
          </p:cNvPr>
          <p:cNvSpPr/>
          <p:nvPr/>
        </p:nvSpPr>
        <p:spPr>
          <a:xfrm>
            <a:off x="6170673" y="2529274"/>
            <a:ext cx="1412638" cy="794716"/>
          </a:xfrm>
          <a:prstGeom prst="roundRect">
            <a:avLst/>
          </a:prstGeom>
          <a:solidFill>
            <a:srgbClr val="EBEFFF"/>
          </a:solidFill>
          <a:ln w="12700" cap="flat" cmpd="sng" algn="ctr">
            <a:solidFill>
              <a:srgbClr val="00146D"/>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146D"/>
                </a:solidFill>
                <a:effectLst/>
                <a:uLnTx/>
                <a:uFillTx/>
                <a:latin typeface="Arial"/>
                <a:ea typeface="+mn-ea"/>
                <a:cs typeface="+mn-cs"/>
                <a:sym typeface="Arial"/>
              </a:rPr>
              <a:t>Built </a:t>
            </a:r>
            <a:br>
              <a:rPr kumimoji="0" lang="en-US" sz="1200" b="1" i="0" u="none" strike="noStrike" kern="0" cap="none" spc="0" normalizeH="0" baseline="0" noProof="0">
                <a:ln>
                  <a:noFill/>
                </a:ln>
                <a:solidFill>
                  <a:srgbClr val="00146D"/>
                </a:solidFill>
                <a:effectLst/>
                <a:uLnTx/>
                <a:uFillTx/>
                <a:latin typeface="Arial"/>
                <a:ea typeface="+mn-ea"/>
                <a:cs typeface="+mn-cs"/>
                <a:sym typeface="Arial"/>
              </a:rPr>
            </a:br>
            <a:r>
              <a:rPr kumimoji="0" lang="en-US" sz="1200" b="1" i="0" u="none" strike="noStrike" kern="0" cap="none" spc="0" normalizeH="0" baseline="0" noProof="0">
                <a:ln>
                  <a:noFill/>
                </a:ln>
                <a:solidFill>
                  <a:srgbClr val="00146D"/>
                </a:solidFill>
                <a:effectLst/>
                <a:uLnTx/>
                <a:uFillTx/>
                <a:latin typeface="Arial"/>
                <a:ea typeface="+mn-ea"/>
                <a:cs typeface="+mn-cs"/>
                <a:sym typeface="Arial"/>
              </a:rPr>
              <a:t>environment</a:t>
            </a:r>
          </a:p>
        </p:txBody>
      </p:sp>
      <p:sp>
        <p:nvSpPr>
          <p:cNvPr id="17" name="Rectangle: Rounded Corners 16">
            <a:extLst>
              <a:ext uri="{FF2B5EF4-FFF2-40B4-BE49-F238E27FC236}">
                <a16:creationId xmlns:a16="http://schemas.microsoft.com/office/drawing/2014/main" id="{0C475B45-FAFC-37EC-FF5E-DBB7EE13FD1F}"/>
              </a:ext>
            </a:extLst>
          </p:cNvPr>
          <p:cNvSpPr>
            <a:spLocks/>
          </p:cNvSpPr>
          <p:nvPr/>
        </p:nvSpPr>
        <p:spPr>
          <a:xfrm>
            <a:off x="6170673" y="3391235"/>
            <a:ext cx="1412638" cy="794716"/>
          </a:xfrm>
          <a:prstGeom prst="roundRect">
            <a:avLst/>
          </a:prstGeom>
          <a:solidFill>
            <a:srgbClr val="EBEFFF"/>
          </a:solidFill>
          <a:ln w="12700" cap="flat" cmpd="sng" algn="ctr">
            <a:solidFill>
              <a:srgbClr val="00146D"/>
            </a:solidFill>
            <a:prstDash val="sysDot"/>
          </a:ln>
          <a:effectLst/>
        </p:spPr>
        <p:txBody>
          <a:bodyPr lIns="36000" rIns="36000" rtlCol="0" anchor="ctr"/>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lang="en-US" sz="1200" b="1" kern="0">
              <a:solidFill>
                <a:srgbClr val="00146D"/>
              </a:solidFill>
              <a:latin typeface="Arial"/>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endParaRPr lang="en-US" sz="1200" b="1" kern="0">
              <a:solidFill>
                <a:srgbClr val="00146D"/>
              </a:solidFill>
              <a:latin typeface="Arial"/>
              <a:sym typeface="Arial"/>
            </a:endParaRPr>
          </a:p>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lang="en-US" sz="1200" b="1" kern="0">
                <a:solidFill>
                  <a:srgbClr val="00146D"/>
                </a:solidFill>
                <a:latin typeface="Arial"/>
                <a:sym typeface="Arial"/>
              </a:rPr>
              <a:t>Energy</a:t>
            </a:r>
            <a:endParaRPr kumimoji="0" lang="en-US" sz="1200" b="1" i="0" u="none" strike="noStrike" kern="0" cap="none" spc="0" normalizeH="0" baseline="0" noProof="0">
              <a:ln>
                <a:noFill/>
              </a:ln>
              <a:solidFill>
                <a:srgbClr val="00146D"/>
              </a:solidFill>
              <a:effectLst/>
              <a:uLnTx/>
              <a:uFillTx/>
              <a:latin typeface="Arial"/>
              <a:ea typeface="+mn-ea"/>
              <a:cs typeface="+mn-cs"/>
              <a:sym typeface="Arial"/>
            </a:endParaRPr>
          </a:p>
        </p:txBody>
      </p:sp>
      <p:sp>
        <p:nvSpPr>
          <p:cNvPr id="18" name="Rectangle 17">
            <a:extLst>
              <a:ext uri="{FF2B5EF4-FFF2-40B4-BE49-F238E27FC236}">
                <a16:creationId xmlns:a16="http://schemas.microsoft.com/office/drawing/2014/main" id="{688127B4-EA75-804B-5A4C-C969290BC343}"/>
              </a:ext>
            </a:extLst>
          </p:cNvPr>
          <p:cNvSpPr>
            <a:spLocks/>
          </p:cNvSpPr>
          <p:nvPr/>
        </p:nvSpPr>
        <p:spPr>
          <a:xfrm>
            <a:off x="8380613" y="1788345"/>
            <a:ext cx="3604381" cy="424077"/>
          </a:xfrm>
          <a:prstGeom prst="rect">
            <a:avLst/>
          </a:prstGeom>
          <a:solidFill>
            <a:srgbClr val="00B0F0"/>
          </a:solidFill>
          <a:ln w="25400" cap="flat" cmpd="sng" algn="ctr">
            <a:noFill/>
            <a:prstDash val="solid"/>
          </a:ln>
          <a:effectLst/>
        </p:spPr>
        <p:txBody>
          <a:bodyPr lIns="0" rIns="0"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sym typeface="Arial"/>
              </a:rPr>
              <a:t>Natural </a:t>
            </a:r>
            <a:r>
              <a:rPr lang="en-US" sz="1600" b="1" kern="0" dirty="0">
                <a:solidFill>
                  <a:srgbClr val="FFFFFF"/>
                </a:solidFill>
                <a:latin typeface="Arial"/>
                <a:sym typeface="Arial"/>
              </a:rPr>
              <a:t>resources</a:t>
            </a:r>
            <a:endParaRPr kumimoji="0" lang="en-US" sz="1600" b="1"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9" name="Rectangle 18">
            <a:extLst>
              <a:ext uri="{FF2B5EF4-FFF2-40B4-BE49-F238E27FC236}">
                <a16:creationId xmlns:a16="http://schemas.microsoft.com/office/drawing/2014/main" id="{1FCEF76E-01E0-64E1-22B1-9EADA7A065DB}"/>
              </a:ext>
            </a:extLst>
          </p:cNvPr>
          <p:cNvSpPr>
            <a:spLocks/>
          </p:cNvSpPr>
          <p:nvPr/>
        </p:nvSpPr>
        <p:spPr>
          <a:xfrm>
            <a:off x="266473" y="1788345"/>
            <a:ext cx="3604381" cy="424077"/>
          </a:xfrm>
          <a:prstGeom prst="rect">
            <a:avLst/>
          </a:prstGeom>
          <a:solidFill>
            <a:srgbClr val="00B0F0"/>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mn-ea"/>
                <a:cs typeface="+mn-cs"/>
                <a:sym typeface="Arial"/>
              </a:rPr>
              <a:t>Human needs</a:t>
            </a:r>
          </a:p>
        </p:txBody>
      </p:sp>
      <p:sp>
        <p:nvSpPr>
          <p:cNvPr id="20" name="Rectangle 19">
            <a:extLst>
              <a:ext uri="{FF2B5EF4-FFF2-40B4-BE49-F238E27FC236}">
                <a16:creationId xmlns:a16="http://schemas.microsoft.com/office/drawing/2014/main" id="{26739AB5-38AF-2312-602E-8EFF3F470207}"/>
              </a:ext>
            </a:extLst>
          </p:cNvPr>
          <p:cNvSpPr>
            <a:spLocks/>
          </p:cNvSpPr>
          <p:nvPr/>
        </p:nvSpPr>
        <p:spPr>
          <a:xfrm>
            <a:off x="8380613" y="2283511"/>
            <a:ext cx="3604381" cy="2196909"/>
          </a:xfrm>
          <a:prstGeom prst="rect">
            <a:avLst/>
          </a:prstGeom>
          <a:solidFill>
            <a:srgbClr val="FFFFFF">
              <a:lumMod val="95000"/>
            </a:srgbClr>
          </a:solidFill>
          <a:ln w="25400" cap="flat" cmpd="sng" algn="ctr">
            <a:noFill/>
            <a:prstDash val="solid"/>
          </a:ln>
          <a:effectLst/>
        </p:spPr>
        <p:txBody>
          <a:bodyPr lIns="0" rIns="0"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Rectangle 20">
            <a:extLst>
              <a:ext uri="{FF2B5EF4-FFF2-40B4-BE49-F238E27FC236}">
                <a16:creationId xmlns:a16="http://schemas.microsoft.com/office/drawing/2014/main" id="{8B670603-BFB8-05EB-CF62-76ADA590B9FE}"/>
              </a:ext>
            </a:extLst>
          </p:cNvPr>
          <p:cNvSpPr>
            <a:spLocks/>
          </p:cNvSpPr>
          <p:nvPr/>
        </p:nvSpPr>
        <p:spPr>
          <a:xfrm>
            <a:off x="266473" y="2283511"/>
            <a:ext cx="3604381" cy="2196909"/>
          </a:xfrm>
          <a:prstGeom prst="rect">
            <a:avLst/>
          </a:prstGeom>
          <a:solidFill>
            <a:srgbClr val="FFFFFF">
              <a:lumMod val="95000"/>
            </a:srgbClr>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Rectangle 21">
            <a:extLst>
              <a:ext uri="{FF2B5EF4-FFF2-40B4-BE49-F238E27FC236}">
                <a16:creationId xmlns:a16="http://schemas.microsoft.com/office/drawing/2014/main" id="{6AAF87DC-F1A3-924D-39F7-DCE22FED86DE}"/>
              </a:ext>
            </a:extLst>
          </p:cNvPr>
          <p:cNvSpPr>
            <a:spLocks/>
          </p:cNvSpPr>
          <p:nvPr/>
        </p:nvSpPr>
        <p:spPr>
          <a:xfrm>
            <a:off x="4306217" y="1788345"/>
            <a:ext cx="3639038" cy="424077"/>
          </a:xfrm>
          <a:prstGeom prst="rect">
            <a:avLst/>
          </a:prstGeom>
          <a:solidFill>
            <a:srgbClr val="00146D"/>
          </a:solidFill>
          <a:ln w="25400" cap="flat" cmpd="sng" algn="ctr">
            <a:noFill/>
            <a:prstDash val="solid"/>
          </a:ln>
          <a:effectLst/>
        </p:spPr>
        <p:txBody>
          <a:bodyPr rtlCol="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mn-ea"/>
                <a:cs typeface="+mn-cs"/>
                <a:sym typeface="Arial"/>
              </a:rPr>
              <a:t>Provisioning systems</a:t>
            </a:r>
          </a:p>
        </p:txBody>
      </p:sp>
      <p:sp>
        <p:nvSpPr>
          <p:cNvPr id="23" name="Arrow: Chevron 22">
            <a:extLst>
              <a:ext uri="{FF2B5EF4-FFF2-40B4-BE49-F238E27FC236}">
                <a16:creationId xmlns:a16="http://schemas.microsoft.com/office/drawing/2014/main" id="{B9F58EEA-4440-F639-D5EC-D9954A07F4C3}"/>
              </a:ext>
            </a:extLst>
          </p:cNvPr>
          <p:cNvSpPr/>
          <p:nvPr/>
        </p:nvSpPr>
        <p:spPr>
          <a:xfrm>
            <a:off x="4099679" y="312714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4" name="Arrow: Chevron 23">
            <a:extLst>
              <a:ext uri="{FF2B5EF4-FFF2-40B4-BE49-F238E27FC236}">
                <a16:creationId xmlns:a16="http://schemas.microsoft.com/office/drawing/2014/main" id="{DEE0E862-DCC6-5F9A-35F4-534AB797D046}"/>
              </a:ext>
            </a:extLst>
          </p:cNvPr>
          <p:cNvSpPr/>
          <p:nvPr/>
        </p:nvSpPr>
        <p:spPr>
          <a:xfrm flipH="1">
            <a:off x="3842840" y="312714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25" name="TextBox 24">
            <a:extLst>
              <a:ext uri="{FF2B5EF4-FFF2-40B4-BE49-F238E27FC236}">
                <a16:creationId xmlns:a16="http://schemas.microsoft.com/office/drawing/2014/main" id="{7018AAF7-427C-C9BD-1112-FBBAACBB328D}"/>
              </a:ext>
            </a:extLst>
          </p:cNvPr>
          <p:cNvSpPr txBox="1"/>
          <p:nvPr/>
        </p:nvSpPr>
        <p:spPr>
          <a:xfrm>
            <a:off x="350531" y="2451352"/>
            <a:ext cx="3428374" cy="1692771"/>
          </a:xfrm>
          <a:prstGeom prst="rect">
            <a:avLst/>
          </a:prstGeom>
          <a:noFill/>
        </p:spPr>
        <p:txBody>
          <a:bodyPr wrap="square" lIns="0" rIns="0" rtlCol="0">
            <a:spAutoFit/>
          </a:bodyPr>
          <a:lstStyle/>
          <a:p>
            <a:pPr marL="180975" indent="-180975">
              <a:spcBef>
                <a:spcPts val="400"/>
              </a:spcBef>
              <a:spcAft>
                <a:spcPts val="400"/>
              </a:spcAft>
              <a:buClr>
                <a:srgbClr val="00146D"/>
              </a:buClr>
              <a:buFont typeface="Wingdings" panose="05000000000000000000" pitchFamily="2" charset="2"/>
              <a:buChar char="§"/>
            </a:pPr>
            <a:r>
              <a:rPr lang="en-US" sz="1400" kern="0">
                <a:solidFill>
                  <a:srgbClr val="000000"/>
                </a:solidFill>
                <a:latin typeface="Arial"/>
                <a:cs typeface="Arial"/>
                <a:sym typeface="Arial"/>
              </a:rPr>
              <a:t>Adequate, nutritious food for all</a:t>
            </a:r>
          </a:p>
          <a:p>
            <a:pPr marL="180975" indent="-180975">
              <a:spcBef>
                <a:spcPts val="400"/>
              </a:spcBef>
              <a:spcAft>
                <a:spcPts val="400"/>
              </a:spcAft>
              <a:buClr>
                <a:srgbClr val="00146D"/>
              </a:buClr>
              <a:buFont typeface="Wingdings" panose="05000000000000000000" pitchFamily="2" charset="2"/>
              <a:buChar char="§"/>
            </a:pPr>
            <a:r>
              <a:rPr lang="en-US" sz="1400" kern="0">
                <a:solidFill>
                  <a:srgbClr val="000000"/>
                </a:solidFill>
                <a:latin typeface="Arial"/>
                <a:cs typeface="Arial"/>
                <a:sym typeface="Arial"/>
              </a:rPr>
              <a:t>Safe, secure, resource-efficient built environment </a:t>
            </a:r>
          </a:p>
          <a:p>
            <a:pPr marL="180975" indent="-180975">
              <a:spcBef>
                <a:spcPts val="400"/>
              </a:spcBef>
              <a:spcAft>
                <a:spcPts val="400"/>
              </a:spcAft>
              <a:buClr>
                <a:srgbClr val="00146D"/>
              </a:buClr>
              <a:buFont typeface="Wingdings" panose="05000000000000000000" pitchFamily="2" charset="2"/>
              <a:buChar char="§"/>
            </a:pPr>
            <a:r>
              <a:rPr lang="en-US" sz="1400" kern="0">
                <a:solidFill>
                  <a:srgbClr val="000000"/>
                </a:solidFill>
                <a:latin typeface="Arial"/>
                <a:cs typeface="Arial"/>
                <a:sym typeface="Arial"/>
              </a:rPr>
              <a:t>Sustainable mobility and access to essential services </a:t>
            </a:r>
          </a:p>
          <a:p>
            <a:pPr marL="180975" indent="-180975">
              <a:spcBef>
                <a:spcPts val="400"/>
              </a:spcBef>
              <a:spcAft>
                <a:spcPts val="400"/>
              </a:spcAft>
              <a:buClr>
                <a:srgbClr val="00146D"/>
              </a:buClr>
              <a:buFont typeface="Wingdings" panose="05000000000000000000" pitchFamily="2" charset="2"/>
              <a:buChar char="§"/>
            </a:pPr>
            <a:r>
              <a:rPr lang="en-US" sz="1400" kern="0">
                <a:solidFill>
                  <a:srgbClr val="000000"/>
                </a:solidFill>
                <a:latin typeface="Arial"/>
                <a:cs typeface="Arial"/>
                <a:sym typeface="Arial"/>
              </a:rPr>
              <a:t>Access to clean, safe energy</a:t>
            </a:r>
          </a:p>
        </p:txBody>
      </p:sp>
      <p:grpSp>
        <p:nvGrpSpPr>
          <p:cNvPr id="26" name="Graphic 63">
            <a:extLst>
              <a:ext uri="{FF2B5EF4-FFF2-40B4-BE49-F238E27FC236}">
                <a16:creationId xmlns:a16="http://schemas.microsoft.com/office/drawing/2014/main" id="{44E3FA7B-A87E-0B2A-B8DA-D33D351EDF1C}"/>
              </a:ext>
            </a:extLst>
          </p:cNvPr>
          <p:cNvGrpSpPr>
            <a:grpSpLocks noChangeAspect="1"/>
          </p:cNvGrpSpPr>
          <p:nvPr/>
        </p:nvGrpSpPr>
        <p:grpSpPr>
          <a:xfrm>
            <a:off x="5217833" y="3447789"/>
            <a:ext cx="313285" cy="313285"/>
            <a:chOff x="-2021057" y="2899669"/>
            <a:chExt cx="499826" cy="499827"/>
          </a:xfrm>
          <a:solidFill>
            <a:srgbClr val="00146D"/>
          </a:solidFill>
        </p:grpSpPr>
        <p:sp>
          <p:nvSpPr>
            <p:cNvPr id="27" name="Freeform: Shape 26">
              <a:extLst>
                <a:ext uri="{FF2B5EF4-FFF2-40B4-BE49-F238E27FC236}">
                  <a16:creationId xmlns:a16="http://schemas.microsoft.com/office/drawing/2014/main" id="{4CCBE785-2011-FC09-0053-9521DE48F55A}"/>
                </a:ext>
              </a:extLst>
            </p:cNvPr>
            <p:cNvSpPr/>
            <p:nvPr/>
          </p:nvSpPr>
          <p:spPr>
            <a:xfrm>
              <a:off x="-1971074" y="3232887"/>
              <a:ext cx="66643" cy="66643"/>
            </a:xfrm>
            <a:custGeom>
              <a:avLst/>
              <a:gdLst>
                <a:gd name="connsiteX0" fmla="*/ 66644 w 66643"/>
                <a:gd name="connsiteY0" fmla="*/ 33322 h 66643"/>
                <a:gd name="connsiteX1" fmla="*/ 33322 w 66643"/>
                <a:gd name="connsiteY1" fmla="*/ 66644 h 66643"/>
                <a:gd name="connsiteX2" fmla="*/ 0 w 66643"/>
                <a:gd name="connsiteY2" fmla="*/ 33322 h 66643"/>
                <a:gd name="connsiteX3" fmla="*/ 33322 w 66643"/>
                <a:gd name="connsiteY3" fmla="*/ 0 h 66643"/>
                <a:gd name="connsiteX4" fmla="*/ 66644 w 66643"/>
                <a:gd name="connsiteY4" fmla="*/ 33322 h 6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43" h="66643">
                  <a:moveTo>
                    <a:pt x="66644" y="33322"/>
                  </a:moveTo>
                  <a:cubicBezTo>
                    <a:pt x="66644" y="51725"/>
                    <a:pt x="51725" y="66644"/>
                    <a:pt x="33322" y="66644"/>
                  </a:cubicBezTo>
                  <a:cubicBezTo>
                    <a:pt x="14919" y="66644"/>
                    <a:pt x="0" y="51725"/>
                    <a:pt x="0" y="33322"/>
                  </a:cubicBezTo>
                  <a:cubicBezTo>
                    <a:pt x="0" y="14919"/>
                    <a:pt x="14919" y="0"/>
                    <a:pt x="33322" y="0"/>
                  </a:cubicBezTo>
                  <a:cubicBezTo>
                    <a:pt x="51725" y="0"/>
                    <a:pt x="66644" y="14919"/>
                    <a:pt x="66644" y="33322"/>
                  </a:cubicBezTo>
                  <a:close/>
                </a:path>
              </a:pathLst>
            </a:custGeom>
            <a:grp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Freeform: Shape 27">
              <a:extLst>
                <a:ext uri="{FF2B5EF4-FFF2-40B4-BE49-F238E27FC236}">
                  <a16:creationId xmlns:a16="http://schemas.microsoft.com/office/drawing/2014/main" id="{7E55D6F6-DA94-9DA3-678E-17E855661445}"/>
                </a:ext>
              </a:extLst>
            </p:cNvPr>
            <p:cNvSpPr/>
            <p:nvPr/>
          </p:nvSpPr>
          <p:spPr>
            <a:xfrm>
              <a:off x="-2021057" y="2899669"/>
              <a:ext cx="499826" cy="499827"/>
            </a:xfrm>
            <a:custGeom>
              <a:avLst/>
              <a:gdLst>
                <a:gd name="connsiteX0" fmla="*/ 416522 w 499826"/>
                <a:gd name="connsiteY0" fmla="*/ 0 h 499827"/>
                <a:gd name="connsiteX1" fmla="*/ 333218 w 499826"/>
                <a:gd name="connsiteY1" fmla="*/ 83305 h 499827"/>
                <a:gd name="connsiteX2" fmla="*/ 370871 w 499826"/>
                <a:gd name="connsiteY2" fmla="*/ 183270 h 499827"/>
                <a:gd name="connsiteX3" fmla="*/ 274904 w 499826"/>
                <a:gd name="connsiteY3" fmla="*/ 183270 h 499827"/>
                <a:gd name="connsiteX4" fmla="*/ 183270 w 499826"/>
                <a:gd name="connsiteY4" fmla="*/ 274905 h 499827"/>
                <a:gd name="connsiteX5" fmla="*/ 274904 w 499826"/>
                <a:gd name="connsiteY5" fmla="*/ 366540 h 499827"/>
                <a:gd name="connsiteX6" fmla="*/ 349878 w 499826"/>
                <a:gd name="connsiteY6" fmla="*/ 366540 h 499827"/>
                <a:gd name="connsiteX7" fmla="*/ 399861 w 499826"/>
                <a:gd name="connsiteY7" fmla="*/ 416523 h 499827"/>
                <a:gd name="connsiteX8" fmla="*/ 349878 w 499826"/>
                <a:gd name="connsiteY8" fmla="*/ 466505 h 499827"/>
                <a:gd name="connsiteX9" fmla="*/ 128955 w 499826"/>
                <a:gd name="connsiteY9" fmla="*/ 466505 h 499827"/>
                <a:gd name="connsiteX10" fmla="*/ 166609 w 499826"/>
                <a:gd name="connsiteY10" fmla="*/ 366540 h 499827"/>
                <a:gd name="connsiteX11" fmla="*/ 83304 w 499826"/>
                <a:gd name="connsiteY11" fmla="*/ 283235 h 499827"/>
                <a:gd name="connsiteX12" fmla="*/ 0 w 499826"/>
                <a:gd name="connsiteY12" fmla="*/ 366540 h 499827"/>
                <a:gd name="connsiteX13" fmla="*/ 75474 w 499826"/>
                <a:gd name="connsiteY13" fmla="*/ 497828 h 499827"/>
                <a:gd name="connsiteX14" fmla="*/ 83304 w 499826"/>
                <a:gd name="connsiteY14" fmla="*/ 499827 h 499827"/>
                <a:gd name="connsiteX15" fmla="*/ 349878 w 499826"/>
                <a:gd name="connsiteY15" fmla="*/ 499827 h 499827"/>
                <a:gd name="connsiteX16" fmla="*/ 433183 w 499826"/>
                <a:gd name="connsiteY16" fmla="*/ 416523 h 499827"/>
                <a:gd name="connsiteX17" fmla="*/ 349878 w 499826"/>
                <a:gd name="connsiteY17" fmla="*/ 333218 h 499827"/>
                <a:gd name="connsiteX18" fmla="*/ 274904 w 499826"/>
                <a:gd name="connsiteY18" fmla="*/ 333218 h 499827"/>
                <a:gd name="connsiteX19" fmla="*/ 216591 w 499826"/>
                <a:gd name="connsiteY19" fmla="*/ 274905 h 499827"/>
                <a:gd name="connsiteX20" fmla="*/ 274904 w 499826"/>
                <a:gd name="connsiteY20" fmla="*/ 216592 h 499827"/>
                <a:gd name="connsiteX21" fmla="*/ 416522 w 499826"/>
                <a:gd name="connsiteY21" fmla="*/ 216592 h 499827"/>
                <a:gd name="connsiteX22" fmla="*/ 424352 w 499826"/>
                <a:gd name="connsiteY22" fmla="*/ 214592 h 499827"/>
                <a:gd name="connsiteX23" fmla="*/ 499826 w 499826"/>
                <a:gd name="connsiteY23" fmla="*/ 83305 h 499827"/>
                <a:gd name="connsiteX24" fmla="*/ 416522 w 499826"/>
                <a:gd name="connsiteY24" fmla="*/ 0 h 499827"/>
                <a:gd name="connsiteX25" fmla="*/ 33322 w 499826"/>
                <a:gd name="connsiteY25" fmla="*/ 366540 h 499827"/>
                <a:gd name="connsiteX26" fmla="*/ 83304 w 499826"/>
                <a:gd name="connsiteY26" fmla="*/ 316557 h 499827"/>
                <a:gd name="connsiteX27" fmla="*/ 133287 w 499826"/>
                <a:gd name="connsiteY27" fmla="*/ 366540 h 499827"/>
                <a:gd name="connsiteX28" fmla="*/ 83304 w 499826"/>
                <a:gd name="connsiteY28" fmla="*/ 463340 h 499827"/>
                <a:gd name="connsiteX29" fmla="*/ 33322 w 499826"/>
                <a:gd name="connsiteY29" fmla="*/ 366540 h 499827"/>
                <a:gd name="connsiteX30" fmla="*/ 416522 w 499826"/>
                <a:gd name="connsiteY30" fmla="*/ 180104 h 499827"/>
                <a:gd name="connsiteX31" fmla="*/ 366539 w 499826"/>
                <a:gd name="connsiteY31" fmla="*/ 83305 h 499827"/>
                <a:gd name="connsiteX32" fmla="*/ 416522 w 499826"/>
                <a:gd name="connsiteY32" fmla="*/ 33322 h 499827"/>
                <a:gd name="connsiteX33" fmla="*/ 466505 w 499826"/>
                <a:gd name="connsiteY33" fmla="*/ 83305 h 499827"/>
                <a:gd name="connsiteX34" fmla="*/ 416522 w 499826"/>
                <a:gd name="connsiteY34" fmla="*/ 180104 h 49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99826" h="499827">
                  <a:moveTo>
                    <a:pt x="416522" y="0"/>
                  </a:moveTo>
                  <a:cubicBezTo>
                    <a:pt x="370514" y="0"/>
                    <a:pt x="333218" y="37297"/>
                    <a:pt x="333218" y="83305"/>
                  </a:cubicBezTo>
                  <a:cubicBezTo>
                    <a:pt x="332865" y="120156"/>
                    <a:pt x="346295" y="155809"/>
                    <a:pt x="370871" y="183270"/>
                  </a:cubicBezTo>
                  <a:lnTo>
                    <a:pt x="274904" y="183270"/>
                  </a:lnTo>
                  <a:cubicBezTo>
                    <a:pt x="224296" y="183270"/>
                    <a:pt x="183270" y="224296"/>
                    <a:pt x="183270" y="274905"/>
                  </a:cubicBezTo>
                  <a:cubicBezTo>
                    <a:pt x="183270" y="325513"/>
                    <a:pt x="224296" y="366540"/>
                    <a:pt x="274904" y="366540"/>
                  </a:cubicBezTo>
                  <a:lnTo>
                    <a:pt x="349878" y="366540"/>
                  </a:lnTo>
                  <a:cubicBezTo>
                    <a:pt x="377483" y="366540"/>
                    <a:pt x="399861" y="388918"/>
                    <a:pt x="399861" y="416523"/>
                  </a:cubicBezTo>
                  <a:cubicBezTo>
                    <a:pt x="399861" y="444127"/>
                    <a:pt x="377483" y="466505"/>
                    <a:pt x="349878" y="466505"/>
                  </a:cubicBezTo>
                  <a:lnTo>
                    <a:pt x="128955" y="466505"/>
                  </a:lnTo>
                  <a:cubicBezTo>
                    <a:pt x="153532" y="439044"/>
                    <a:pt x="166961" y="403391"/>
                    <a:pt x="166609" y="366540"/>
                  </a:cubicBezTo>
                  <a:cubicBezTo>
                    <a:pt x="166609" y="320532"/>
                    <a:pt x="129312" y="283235"/>
                    <a:pt x="83304" y="283235"/>
                  </a:cubicBezTo>
                  <a:cubicBezTo>
                    <a:pt x="37297" y="283235"/>
                    <a:pt x="0" y="320532"/>
                    <a:pt x="0" y="366540"/>
                  </a:cubicBezTo>
                  <a:cubicBezTo>
                    <a:pt x="39" y="420605"/>
                    <a:pt x="28772" y="470588"/>
                    <a:pt x="75474" y="497828"/>
                  </a:cubicBezTo>
                  <a:cubicBezTo>
                    <a:pt x="77921" y="499020"/>
                    <a:pt x="80585" y="499701"/>
                    <a:pt x="83304" y="499827"/>
                  </a:cubicBezTo>
                  <a:lnTo>
                    <a:pt x="349878" y="499827"/>
                  </a:lnTo>
                  <a:cubicBezTo>
                    <a:pt x="395886" y="499827"/>
                    <a:pt x="433183" y="462530"/>
                    <a:pt x="433183" y="416523"/>
                  </a:cubicBezTo>
                  <a:cubicBezTo>
                    <a:pt x="433183" y="370515"/>
                    <a:pt x="395886" y="333218"/>
                    <a:pt x="349878" y="333218"/>
                  </a:cubicBezTo>
                  <a:lnTo>
                    <a:pt x="274904" y="333218"/>
                  </a:lnTo>
                  <a:cubicBezTo>
                    <a:pt x="242699" y="333218"/>
                    <a:pt x="216591" y="307110"/>
                    <a:pt x="216591" y="274905"/>
                  </a:cubicBezTo>
                  <a:cubicBezTo>
                    <a:pt x="216591" y="242699"/>
                    <a:pt x="242699" y="216592"/>
                    <a:pt x="274904" y="216592"/>
                  </a:cubicBezTo>
                  <a:lnTo>
                    <a:pt x="416522" y="216592"/>
                  </a:lnTo>
                  <a:cubicBezTo>
                    <a:pt x="419239" y="216452"/>
                    <a:pt x="421901" y="215772"/>
                    <a:pt x="424352" y="214592"/>
                  </a:cubicBezTo>
                  <a:cubicBezTo>
                    <a:pt x="471054" y="187352"/>
                    <a:pt x="499788" y="137370"/>
                    <a:pt x="499826" y="83305"/>
                  </a:cubicBezTo>
                  <a:cubicBezTo>
                    <a:pt x="499826" y="37297"/>
                    <a:pt x="462530" y="0"/>
                    <a:pt x="416522" y="0"/>
                  </a:cubicBezTo>
                  <a:close/>
                  <a:moveTo>
                    <a:pt x="33322" y="366540"/>
                  </a:moveTo>
                  <a:cubicBezTo>
                    <a:pt x="33322" y="338935"/>
                    <a:pt x="55700" y="316557"/>
                    <a:pt x="83304" y="316557"/>
                  </a:cubicBezTo>
                  <a:cubicBezTo>
                    <a:pt x="110909" y="316557"/>
                    <a:pt x="133287" y="338935"/>
                    <a:pt x="133287" y="366540"/>
                  </a:cubicBezTo>
                  <a:cubicBezTo>
                    <a:pt x="133388" y="405022"/>
                    <a:pt x="114738" y="441141"/>
                    <a:pt x="83304" y="463340"/>
                  </a:cubicBezTo>
                  <a:cubicBezTo>
                    <a:pt x="51958" y="441065"/>
                    <a:pt x="33333" y="404995"/>
                    <a:pt x="33322" y="366540"/>
                  </a:cubicBezTo>
                  <a:close/>
                  <a:moveTo>
                    <a:pt x="416522" y="180104"/>
                  </a:moveTo>
                  <a:cubicBezTo>
                    <a:pt x="385175" y="157830"/>
                    <a:pt x="366550" y="121759"/>
                    <a:pt x="366539" y="83305"/>
                  </a:cubicBezTo>
                  <a:cubicBezTo>
                    <a:pt x="366539" y="55700"/>
                    <a:pt x="388917" y="33322"/>
                    <a:pt x="416522" y="33322"/>
                  </a:cubicBezTo>
                  <a:cubicBezTo>
                    <a:pt x="444127" y="33322"/>
                    <a:pt x="466505" y="55700"/>
                    <a:pt x="466505" y="83305"/>
                  </a:cubicBezTo>
                  <a:cubicBezTo>
                    <a:pt x="466606" y="121786"/>
                    <a:pt x="447955" y="157905"/>
                    <a:pt x="416522" y="180104"/>
                  </a:cubicBezTo>
                  <a:close/>
                </a:path>
              </a:pathLst>
            </a:custGeom>
            <a:grp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Freeform: Shape 28">
              <a:extLst>
                <a:ext uri="{FF2B5EF4-FFF2-40B4-BE49-F238E27FC236}">
                  <a16:creationId xmlns:a16="http://schemas.microsoft.com/office/drawing/2014/main" id="{92B2499A-D72B-8909-BF56-60BD1CC8EC49}"/>
                </a:ext>
              </a:extLst>
            </p:cNvPr>
            <p:cNvSpPr/>
            <p:nvPr/>
          </p:nvSpPr>
          <p:spPr>
            <a:xfrm>
              <a:off x="-1637857" y="2949652"/>
              <a:ext cx="66643" cy="66643"/>
            </a:xfrm>
            <a:custGeom>
              <a:avLst/>
              <a:gdLst>
                <a:gd name="connsiteX0" fmla="*/ 66644 w 66643"/>
                <a:gd name="connsiteY0" fmla="*/ 33322 h 66643"/>
                <a:gd name="connsiteX1" fmla="*/ 33322 w 66643"/>
                <a:gd name="connsiteY1" fmla="*/ 66644 h 66643"/>
                <a:gd name="connsiteX2" fmla="*/ 0 w 66643"/>
                <a:gd name="connsiteY2" fmla="*/ 33322 h 66643"/>
                <a:gd name="connsiteX3" fmla="*/ 33322 w 66643"/>
                <a:gd name="connsiteY3" fmla="*/ 0 h 66643"/>
                <a:gd name="connsiteX4" fmla="*/ 66644 w 66643"/>
                <a:gd name="connsiteY4" fmla="*/ 33322 h 66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43" h="66643">
                  <a:moveTo>
                    <a:pt x="66644" y="33322"/>
                  </a:moveTo>
                  <a:cubicBezTo>
                    <a:pt x="66644" y="51725"/>
                    <a:pt x="51725" y="66644"/>
                    <a:pt x="33322" y="66644"/>
                  </a:cubicBezTo>
                  <a:cubicBezTo>
                    <a:pt x="14919" y="66644"/>
                    <a:pt x="0" y="51725"/>
                    <a:pt x="0" y="33322"/>
                  </a:cubicBezTo>
                  <a:cubicBezTo>
                    <a:pt x="0" y="14919"/>
                    <a:pt x="14919" y="0"/>
                    <a:pt x="33322" y="0"/>
                  </a:cubicBezTo>
                  <a:cubicBezTo>
                    <a:pt x="51725" y="0"/>
                    <a:pt x="66644" y="14919"/>
                    <a:pt x="66644" y="33322"/>
                  </a:cubicBezTo>
                  <a:close/>
                </a:path>
              </a:pathLst>
            </a:custGeom>
            <a:grpFill/>
            <a:ln w="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30" name="Freeform: Shape 29">
            <a:extLst>
              <a:ext uri="{FF2B5EF4-FFF2-40B4-BE49-F238E27FC236}">
                <a16:creationId xmlns:a16="http://schemas.microsoft.com/office/drawing/2014/main" id="{0BC49FE8-A12F-6D69-046B-38A379F1FD6B}"/>
              </a:ext>
            </a:extLst>
          </p:cNvPr>
          <p:cNvSpPr>
            <a:spLocks noChangeAspect="1"/>
          </p:cNvSpPr>
          <p:nvPr/>
        </p:nvSpPr>
        <p:spPr>
          <a:xfrm>
            <a:off x="6731922" y="2602878"/>
            <a:ext cx="290140" cy="290227"/>
          </a:xfrm>
          <a:custGeom>
            <a:avLst/>
            <a:gdLst>
              <a:gd name="connsiteX0" fmla="*/ 595085 w 604147"/>
              <a:gd name="connsiteY0" fmla="*/ 586024 h 604327"/>
              <a:gd name="connsiteX1" fmla="*/ 555406 w 604147"/>
              <a:gd name="connsiteY1" fmla="*/ 586024 h 604327"/>
              <a:gd name="connsiteX2" fmla="*/ 555406 w 604147"/>
              <a:gd name="connsiteY2" fmla="*/ 299264 h 604327"/>
              <a:gd name="connsiteX3" fmla="*/ 595085 w 604147"/>
              <a:gd name="connsiteY3" fmla="*/ 299264 h 604327"/>
              <a:gd name="connsiteX4" fmla="*/ 604146 w 604147"/>
              <a:gd name="connsiteY4" fmla="*/ 289891 h 604327"/>
              <a:gd name="connsiteX5" fmla="*/ 601418 w 604147"/>
              <a:gd name="connsiteY5" fmla="*/ 283500 h 604327"/>
              <a:gd name="connsiteX6" fmla="*/ 505974 w 604147"/>
              <a:gd name="connsiteY6" fmla="*/ 191903 h 604327"/>
              <a:gd name="connsiteX7" fmla="*/ 506562 w 604147"/>
              <a:gd name="connsiteY7" fmla="*/ 167855 h 604327"/>
              <a:gd name="connsiteX8" fmla="*/ 471318 w 604147"/>
              <a:gd name="connsiteY8" fmla="*/ 158690 h 604327"/>
              <a:gd name="connsiteX9" fmla="*/ 308406 w 604147"/>
              <a:gd name="connsiteY9" fmla="*/ 2672 h 604327"/>
              <a:gd name="connsiteX10" fmla="*/ 295741 w 604147"/>
              <a:gd name="connsiteY10" fmla="*/ 2672 h 604327"/>
              <a:gd name="connsiteX11" fmla="*/ 189128 w 604147"/>
              <a:gd name="connsiteY11" fmla="*/ 104716 h 604327"/>
              <a:gd name="connsiteX12" fmla="*/ 189128 w 604147"/>
              <a:gd name="connsiteY12" fmla="*/ 18303 h 604327"/>
              <a:gd name="connsiteX13" fmla="*/ 198266 w 604147"/>
              <a:gd name="connsiteY13" fmla="*/ 18303 h 604327"/>
              <a:gd name="connsiteX14" fmla="*/ 206923 w 604147"/>
              <a:gd name="connsiteY14" fmla="*/ 8657 h 604327"/>
              <a:gd name="connsiteX15" fmla="*/ 198266 w 604147"/>
              <a:gd name="connsiteY15" fmla="*/ 0 h 604327"/>
              <a:gd name="connsiteX16" fmla="*/ 88394 w 604147"/>
              <a:gd name="connsiteY16" fmla="*/ 0 h 604327"/>
              <a:gd name="connsiteX17" fmla="*/ 79737 w 604147"/>
              <a:gd name="connsiteY17" fmla="*/ 9646 h 604327"/>
              <a:gd name="connsiteX18" fmla="*/ 88394 w 604147"/>
              <a:gd name="connsiteY18" fmla="*/ 18303 h 604327"/>
              <a:gd name="connsiteX19" fmla="*/ 97559 w 604147"/>
              <a:gd name="connsiteY19" fmla="*/ 18303 h 604327"/>
              <a:gd name="connsiteX20" fmla="*/ 97559 w 604147"/>
              <a:gd name="connsiteY20" fmla="*/ 192384 h 604327"/>
              <a:gd name="connsiteX21" fmla="*/ 2729 w 604147"/>
              <a:gd name="connsiteY21" fmla="*/ 283232 h 604327"/>
              <a:gd name="connsiteX22" fmla="*/ 2671 w 604147"/>
              <a:gd name="connsiteY22" fmla="*/ 296269 h 604327"/>
              <a:gd name="connsiteX23" fmla="*/ 9062 w 604147"/>
              <a:gd name="connsiteY23" fmla="*/ 298997 h 604327"/>
              <a:gd name="connsiteX24" fmla="*/ 48715 w 604147"/>
              <a:gd name="connsiteY24" fmla="*/ 298997 h 604327"/>
              <a:gd name="connsiteX25" fmla="*/ 48715 w 604147"/>
              <a:gd name="connsiteY25" fmla="*/ 586024 h 604327"/>
              <a:gd name="connsiteX26" fmla="*/ 9062 w 604147"/>
              <a:gd name="connsiteY26" fmla="*/ 586024 h 604327"/>
              <a:gd name="connsiteX27" fmla="*/ 405 w 604147"/>
              <a:gd name="connsiteY27" fmla="*/ 595670 h 604327"/>
              <a:gd name="connsiteX28" fmla="*/ 9062 w 604147"/>
              <a:gd name="connsiteY28" fmla="*/ 604327 h 604327"/>
              <a:gd name="connsiteX29" fmla="*/ 595085 w 604147"/>
              <a:gd name="connsiteY29" fmla="*/ 604327 h 604327"/>
              <a:gd name="connsiteX30" fmla="*/ 603742 w 604147"/>
              <a:gd name="connsiteY30" fmla="*/ 594681 h 604327"/>
              <a:gd name="connsiteX31" fmla="*/ 595085 w 604147"/>
              <a:gd name="connsiteY31" fmla="*/ 586024 h 604327"/>
              <a:gd name="connsiteX32" fmla="*/ 488205 w 604147"/>
              <a:gd name="connsiteY32" fmla="*/ 176994 h 604327"/>
              <a:gd name="connsiteX33" fmla="*/ 390075 w 604147"/>
              <a:gd name="connsiteY33" fmla="*/ 280735 h 604327"/>
              <a:gd name="connsiteX34" fmla="*/ 387497 w 604147"/>
              <a:gd name="connsiteY34" fmla="*/ 280774 h 604327"/>
              <a:gd name="connsiteX35" fmla="*/ 312681 w 604147"/>
              <a:gd name="connsiteY35" fmla="*/ 280774 h 604327"/>
              <a:gd name="connsiteX36" fmla="*/ 399655 w 604147"/>
              <a:gd name="connsiteY36" fmla="*/ 238022 h 604327"/>
              <a:gd name="connsiteX37" fmla="*/ 419428 w 604147"/>
              <a:gd name="connsiteY37" fmla="*/ 238022 h 604327"/>
              <a:gd name="connsiteX38" fmla="*/ 428593 w 604147"/>
              <a:gd name="connsiteY38" fmla="*/ 228857 h 604327"/>
              <a:gd name="connsiteX39" fmla="*/ 399896 w 604147"/>
              <a:gd name="connsiteY39" fmla="*/ 219692 h 604327"/>
              <a:gd name="connsiteX40" fmla="*/ 316796 w 604147"/>
              <a:gd name="connsiteY40" fmla="*/ 245343 h 604327"/>
              <a:gd name="connsiteX41" fmla="*/ 411946 w 604147"/>
              <a:gd name="connsiteY41" fmla="*/ 176994 h 604327"/>
              <a:gd name="connsiteX42" fmla="*/ 115862 w 604147"/>
              <a:gd name="connsiteY42" fmla="*/ 18303 h 604327"/>
              <a:gd name="connsiteX43" fmla="*/ 170932 w 604147"/>
              <a:gd name="connsiteY43" fmla="*/ 18303 h 604327"/>
              <a:gd name="connsiteX44" fmla="*/ 170932 w 604147"/>
              <a:gd name="connsiteY44" fmla="*/ 122271 h 604327"/>
              <a:gd name="connsiteX45" fmla="*/ 115862 w 604147"/>
              <a:gd name="connsiteY45" fmla="*/ 174909 h 604327"/>
              <a:gd name="connsiteX46" fmla="*/ 67045 w 604147"/>
              <a:gd name="connsiteY46" fmla="*/ 586024 h 604327"/>
              <a:gd name="connsiteX47" fmla="*/ 67045 w 604147"/>
              <a:gd name="connsiteY47" fmla="*/ 289966 h 604327"/>
              <a:gd name="connsiteX48" fmla="*/ 31828 w 604147"/>
              <a:gd name="connsiteY48" fmla="*/ 280801 h 604327"/>
              <a:gd name="connsiteX49" fmla="*/ 302074 w 604147"/>
              <a:gd name="connsiteY49" fmla="*/ 21830 h 604327"/>
              <a:gd name="connsiteX50" fmla="*/ 444865 w 604147"/>
              <a:gd name="connsiteY50" fmla="*/ 158690 h 604327"/>
              <a:gd name="connsiteX51" fmla="*/ 411946 w 604147"/>
              <a:gd name="connsiteY51" fmla="*/ 158690 h 604327"/>
              <a:gd name="connsiteX52" fmla="*/ 292909 w 604147"/>
              <a:gd name="connsiteY52" fmla="*/ 277728 h 604327"/>
              <a:gd name="connsiteX53" fmla="*/ 292909 w 604147"/>
              <a:gd name="connsiteY53" fmla="*/ 336672 h 604327"/>
              <a:gd name="connsiteX54" fmla="*/ 192308 w 604147"/>
              <a:gd name="connsiteY54" fmla="*/ 280774 h 604327"/>
              <a:gd name="connsiteX55" fmla="*/ 106804 w 604147"/>
              <a:gd name="connsiteY55" fmla="*/ 280774 h 604327"/>
              <a:gd name="connsiteX56" fmla="*/ 97639 w 604147"/>
              <a:gd name="connsiteY56" fmla="*/ 302150 h 604327"/>
              <a:gd name="connsiteX57" fmla="*/ 216677 w 604147"/>
              <a:gd name="connsiteY57" fmla="*/ 421188 h 604327"/>
              <a:gd name="connsiteX58" fmla="*/ 292989 w 604147"/>
              <a:gd name="connsiteY58" fmla="*/ 421188 h 604327"/>
              <a:gd name="connsiteX59" fmla="*/ 292989 w 604147"/>
              <a:gd name="connsiteY59" fmla="*/ 586024 h 604327"/>
              <a:gd name="connsiteX60" fmla="*/ 184826 w 604147"/>
              <a:gd name="connsiteY60" fmla="*/ 360133 h 604327"/>
              <a:gd name="connsiteX61" fmla="*/ 204359 w 604147"/>
              <a:gd name="connsiteY61" fmla="*/ 360133 h 604327"/>
              <a:gd name="connsiteX62" fmla="*/ 291332 w 604147"/>
              <a:gd name="connsiteY62" fmla="*/ 402885 h 604327"/>
              <a:gd name="connsiteX63" fmla="*/ 216516 w 604147"/>
              <a:gd name="connsiteY63" fmla="*/ 402885 h 604327"/>
              <a:gd name="connsiteX64" fmla="*/ 115744 w 604147"/>
              <a:gd name="connsiteY64" fmla="*/ 301654 h 604327"/>
              <a:gd name="connsiteX65" fmla="*/ 115782 w 604147"/>
              <a:gd name="connsiteY65" fmla="*/ 299104 h 604327"/>
              <a:gd name="connsiteX66" fmla="*/ 192308 w 604147"/>
              <a:gd name="connsiteY66" fmla="*/ 299104 h 604327"/>
              <a:gd name="connsiteX67" fmla="*/ 287591 w 604147"/>
              <a:gd name="connsiteY67" fmla="*/ 367481 h 604327"/>
              <a:gd name="connsiteX68" fmla="*/ 184960 w 604147"/>
              <a:gd name="connsiteY68" fmla="*/ 341829 h 604327"/>
              <a:gd name="connsiteX69" fmla="*/ 176228 w 604147"/>
              <a:gd name="connsiteY69" fmla="*/ 351408 h 604327"/>
              <a:gd name="connsiteX70" fmla="*/ 184826 w 604147"/>
              <a:gd name="connsiteY70" fmla="*/ 360133 h 604327"/>
              <a:gd name="connsiteX71" fmla="*/ 536996 w 604147"/>
              <a:gd name="connsiteY71" fmla="*/ 289966 h 604327"/>
              <a:gd name="connsiteX72" fmla="*/ 536996 w 604147"/>
              <a:gd name="connsiteY72" fmla="*/ 586024 h 604327"/>
              <a:gd name="connsiteX73" fmla="*/ 311212 w 604147"/>
              <a:gd name="connsiteY73" fmla="*/ 586024 h 604327"/>
              <a:gd name="connsiteX74" fmla="*/ 311212 w 604147"/>
              <a:gd name="connsiteY74" fmla="*/ 543272 h 604327"/>
              <a:gd name="connsiteX75" fmla="*/ 387551 w 604147"/>
              <a:gd name="connsiteY75" fmla="*/ 543272 h 604327"/>
              <a:gd name="connsiteX76" fmla="*/ 506562 w 604147"/>
              <a:gd name="connsiteY76" fmla="*/ 424234 h 604327"/>
              <a:gd name="connsiteX77" fmla="*/ 497424 w 604147"/>
              <a:gd name="connsiteY77" fmla="*/ 402858 h 604327"/>
              <a:gd name="connsiteX78" fmla="*/ 411920 w 604147"/>
              <a:gd name="connsiteY78" fmla="*/ 402858 h 604327"/>
              <a:gd name="connsiteX79" fmla="*/ 311185 w 604147"/>
              <a:gd name="connsiteY79" fmla="*/ 458756 h 604327"/>
              <a:gd name="connsiteX80" fmla="*/ 311185 w 604147"/>
              <a:gd name="connsiteY80" fmla="*/ 299077 h 604327"/>
              <a:gd name="connsiteX81" fmla="*/ 387497 w 604147"/>
              <a:gd name="connsiteY81" fmla="*/ 299077 h 604327"/>
              <a:gd name="connsiteX82" fmla="*/ 501779 w 604147"/>
              <a:gd name="connsiteY82" fmla="*/ 213226 h 604327"/>
              <a:gd name="connsiteX83" fmla="*/ 572293 w 604147"/>
              <a:gd name="connsiteY83" fmla="*/ 280801 h 604327"/>
              <a:gd name="connsiteX84" fmla="*/ 536996 w 604147"/>
              <a:gd name="connsiteY84" fmla="*/ 289966 h 604327"/>
              <a:gd name="connsiteX85" fmla="*/ 419428 w 604147"/>
              <a:gd name="connsiteY85" fmla="*/ 463940 h 604327"/>
              <a:gd name="connsiteX86" fmla="*/ 316796 w 604147"/>
              <a:gd name="connsiteY86" fmla="*/ 489565 h 604327"/>
              <a:gd name="connsiteX87" fmla="*/ 412080 w 604147"/>
              <a:gd name="connsiteY87" fmla="*/ 421188 h 604327"/>
              <a:gd name="connsiteX88" fmla="*/ 488392 w 604147"/>
              <a:gd name="connsiteY88" fmla="*/ 421188 h 604327"/>
              <a:gd name="connsiteX89" fmla="*/ 390262 w 604147"/>
              <a:gd name="connsiteY89" fmla="*/ 524930 h 604327"/>
              <a:gd name="connsiteX90" fmla="*/ 387685 w 604147"/>
              <a:gd name="connsiteY90" fmla="*/ 524969 h 604327"/>
              <a:gd name="connsiteX91" fmla="*/ 312869 w 604147"/>
              <a:gd name="connsiteY91" fmla="*/ 524969 h 604327"/>
              <a:gd name="connsiteX92" fmla="*/ 399842 w 604147"/>
              <a:gd name="connsiteY92" fmla="*/ 482217 h 604327"/>
              <a:gd name="connsiteX93" fmla="*/ 419428 w 604147"/>
              <a:gd name="connsiteY93" fmla="*/ 482217 h 604327"/>
              <a:gd name="connsiteX94" fmla="*/ 427867 w 604147"/>
              <a:gd name="connsiteY94" fmla="*/ 472379 h 604327"/>
              <a:gd name="connsiteX95" fmla="*/ 419428 w 604147"/>
              <a:gd name="connsiteY95" fmla="*/ 463940 h 60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604147" h="604327">
                <a:moveTo>
                  <a:pt x="595085" y="586024"/>
                </a:moveTo>
                <a:lnTo>
                  <a:pt x="555406" y="586024"/>
                </a:lnTo>
                <a:lnTo>
                  <a:pt x="555406" y="299264"/>
                </a:lnTo>
                <a:lnTo>
                  <a:pt x="595085" y="299264"/>
                </a:lnTo>
                <a:cubicBezTo>
                  <a:pt x="600176" y="299178"/>
                  <a:pt x="604232" y="294981"/>
                  <a:pt x="604146" y="289891"/>
                </a:cubicBezTo>
                <a:cubicBezTo>
                  <a:pt x="604105" y="287486"/>
                  <a:pt x="603126" y="285193"/>
                  <a:pt x="601418" y="283500"/>
                </a:cubicBezTo>
                <a:lnTo>
                  <a:pt x="505974" y="191903"/>
                </a:lnTo>
                <a:cubicBezTo>
                  <a:pt x="506572" y="183902"/>
                  <a:pt x="506768" y="175876"/>
                  <a:pt x="506562" y="167855"/>
                </a:cubicBezTo>
                <a:cubicBezTo>
                  <a:pt x="506562" y="153801"/>
                  <a:pt x="484865" y="159839"/>
                  <a:pt x="471318" y="158690"/>
                </a:cubicBezTo>
                <a:lnTo>
                  <a:pt x="308406" y="2672"/>
                </a:lnTo>
                <a:cubicBezTo>
                  <a:pt x="304875" y="-742"/>
                  <a:pt x="299273" y="-742"/>
                  <a:pt x="295741" y="2672"/>
                </a:cubicBezTo>
                <a:lnTo>
                  <a:pt x="189128" y="104716"/>
                </a:lnTo>
                <a:lnTo>
                  <a:pt x="189128" y="18303"/>
                </a:lnTo>
                <a:lnTo>
                  <a:pt x="198266" y="18303"/>
                </a:lnTo>
                <a:cubicBezTo>
                  <a:pt x="203321" y="18030"/>
                  <a:pt x="207197" y="13711"/>
                  <a:pt x="206923" y="8657"/>
                </a:cubicBezTo>
                <a:cubicBezTo>
                  <a:pt x="206671" y="3984"/>
                  <a:pt x="202939" y="253"/>
                  <a:pt x="198266" y="0"/>
                </a:cubicBezTo>
                <a:lnTo>
                  <a:pt x="88394" y="0"/>
                </a:lnTo>
                <a:cubicBezTo>
                  <a:pt x="83340" y="273"/>
                  <a:pt x="79464" y="4592"/>
                  <a:pt x="79737" y="9646"/>
                </a:cubicBezTo>
                <a:cubicBezTo>
                  <a:pt x="79989" y="14319"/>
                  <a:pt x="83721" y="18051"/>
                  <a:pt x="88394" y="18303"/>
                </a:cubicBezTo>
                <a:lnTo>
                  <a:pt x="97559" y="18303"/>
                </a:lnTo>
                <a:lnTo>
                  <a:pt x="97559" y="192384"/>
                </a:lnTo>
                <a:lnTo>
                  <a:pt x="2729" y="283232"/>
                </a:lnTo>
                <a:cubicBezTo>
                  <a:pt x="-887" y="286816"/>
                  <a:pt x="-913" y="292653"/>
                  <a:pt x="2671" y="296269"/>
                </a:cubicBezTo>
                <a:cubicBezTo>
                  <a:pt x="4364" y="297977"/>
                  <a:pt x="6657" y="298956"/>
                  <a:pt x="9062" y="298997"/>
                </a:cubicBezTo>
                <a:lnTo>
                  <a:pt x="48715" y="298997"/>
                </a:lnTo>
                <a:lnTo>
                  <a:pt x="48715" y="586024"/>
                </a:lnTo>
                <a:lnTo>
                  <a:pt x="9062" y="586024"/>
                </a:lnTo>
                <a:cubicBezTo>
                  <a:pt x="4008" y="586297"/>
                  <a:pt x="132" y="590616"/>
                  <a:pt x="405" y="595670"/>
                </a:cubicBezTo>
                <a:cubicBezTo>
                  <a:pt x="658" y="600343"/>
                  <a:pt x="4390" y="604074"/>
                  <a:pt x="9062" y="604327"/>
                </a:cubicBezTo>
                <a:lnTo>
                  <a:pt x="595085" y="604327"/>
                </a:lnTo>
                <a:cubicBezTo>
                  <a:pt x="600139" y="604054"/>
                  <a:pt x="604015" y="599735"/>
                  <a:pt x="603742" y="594681"/>
                </a:cubicBezTo>
                <a:cubicBezTo>
                  <a:pt x="603490" y="590008"/>
                  <a:pt x="599758" y="586276"/>
                  <a:pt x="595085" y="586024"/>
                </a:cubicBezTo>
                <a:close/>
                <a:moveTo>
                  <a:pt x="488205" y="176994"/>
                </a:moveTo>
                <a:cubicBezTo>
                  <a:pt x="489755" y="232739"/>
                  <a:pt x="445821" y="279186"/>
                  <a:pt x="390075" y="280735"/>
                </a:cubicBezTo>
                <a:cubicBezTo>
                  <a:pt x="389216" y="280759"/>
                  <a:pt x="388357" y="280772"/>
                  <a:pt x="387497" y="280774"/>
                </a:cubicBezTo>
                <a:lnTo>
                  <a:pt x="312681" y="280774"/>
                </a:lnTo>
                <a:cubicBezTo>
                  <a:pt x="320323" y="256726"/>
                  <a:pt x="357010" y="238022"/>
                  <a:pt x="399655" y="238022"/>
                </a:cubicBezTo>
                <a:lnTo>
                  <a:pt x="419428" y="238022"/>
                </a:lnTo>
                <a:cubicBezTo>
                  <a:pt x="424483" y="238007"/>
                  <a:pt x="428578" y="233913"/>
                  <a:pt x="428593" y="228857"/>
                </a:cubicBezTo>
                <a:cubicBezTo>
                  <a:pt x="428593" y="215497"/>
                  <a:pt x="407912" y="220681"/>
                  <a:pt x="399896" y="219692"/>
                </a:cubicBezTo>
                <a:cubicBezTo>
                  <a:pt x="370108" y="218717"/>
                  <a:pt x="340852" y="227747"/>
                  <a:pt x="316796" y="245343"/>
                </a:cubicBezTo>
                <a:cubicBezTo>
                  <a:pt x="330676" y="204588"/>
                  <a:pt x="368893" y="177136"/>
                  <a:pt x="411946" y="176994"/>
                </a:cubicBezTo>
                <a:close/>
                <a:moveTo>
                  <a:pt x="115862" y="18303"/>
                </a:moveTo>
                <a:lnTo>
                  <a:pt x="170932" y="18303"/>
                </a:lnTo>
                <a:lnTo>
                  <a:pt x="170932" y="122271"/>
                </a:lnTo>
                <a:lnTo>
                  <a:pt x="115862" y="174909"/>
                </a:lnTo>
                <a:close/>
                <a:moveTo>
                  <a:pt x="67045" y="586024"/>
                </a:moveTo>
                <a:lnTo>
                  <a:pt x="67045" y="289966"/>
                </a:lnTo>
                <a:cubicBezTo>
                  <a:pt x="66884" y="275911"/>
                  <a:pt x="45375" y="281950"/>
                  <a:pt x="31828" y="280801"/>
                </a:cubicBezTo>
                <a:lnTo>
                  <a:pt x="302074" y="21830"/>
                </a:lnTo>
                <a:lnTo>
                  <a:pt x="444865" y="158690"/>
                </a:lnTo>
                <a:lnTo>
                  <a:pt x="411946" y="158690"/>
                </a:lnTo>
                <a:cubicBezTo>
                  <a:pt x="346240" y="158779"/>
                  <a:pt x="292997" y="212022"/>
                  <a:pt x="292909" y="277728"/>
                </a:cubicBezTo>
                <a:lnTo>
                  <a:pt x="292909" y="336672"/>
                </a:lnTo>
                <a:cubicBezTo>
                  <a:pt x="271216" y="301983"/>
                  <a:pt x="233222" y="280871"/>
                  <a:pt x="192308" y="280774"/>
                </a:cubicBezTo>
                <a:lnTo>
                  <a:pt x="106804" y="280774"/>
                </a:lnTo>
                <a:cubicBezTo>
                  <a:pt x="95501" y="280774"/>
                  <a:pt x="97719" y="294669"/>
                  <a:pt x="97639" y="302150"/>
                </a:cubicBezTo>
                <a:cubicBezTo>
                  <a:pt x="97727" y="367856"/>
                  <a:pt x="150970" y="421100"/>
                  <a:pt x="216677" y="421188"/>
                </a:cubicBezTo>
                <a:lnTo>
                  <a:pt x="292989" y="421188"/>
                </a:lnTo>
                <a:lnTo>
                  <a:pt x="292989" y="586024"/>
                </a:lnTo>
                <a:close/>
                <a:moveTo>
                  <a:pt x="184826" y="360133"/>
                </a:moveTo>
                <a:lnTo>
                  <a:pt x="204359" y="360133"/>
                </a:lnTo>
                <a:cubicBezTo>
                  <a:pt x="247111" y="360133"/>
                  <a:pt x="283717" y="378837"/>
                  <a:pt x="291332" y="402885"/>
                </a:cubicBezTo>
                <a:lnTo>
                  <a:pt x="216516" y="402885"/>
                </a:lnTo>
                <a:cubicBezTo>
                  <a:pt x="160735" y="402758"/>
                  <a:pt x="115617" y="357436"/>
                  <a:pt x="115744" y="301654"/>
                </a:cubicBezTo>
                <a:cubicBezTo>
                  <a:pt x="115746" y="300804"/>
                  <a:pt x="115758" y="299954"/>
                  <a:pt x="115782" y="299104"/>
                </a:cubicBezTo>
                <a:lnTo>
                  <a:pt x="192308" y="299104"/>
                </a:lnTo>
                <a:cubicBezTo>
                  <a:pt x="235425" y="299169"/>
                  <a:pt x="273726" y="326654"/>
                  <a:pt x="287591" y="367481"/>
                </a:cubicBezTo>
                <a:cubicBezTo>
                  <a:pt x="257491" y="347061"/>
                  <a:pt x="221127" y="337973"/>
                  <a:pt x="184960" y="341829"/>
                </a:cubicBezTo>
                <a:cubicBezTo>
                  <a:pt x="179904" y="342063"/>
                  <a:pt x="175994" y="346352"/>
                  <a:pt x="176228" y="351408"/>
                </a:cubicBezTo>
                <a:cubicBezTo>
                  <a:pt x="176444" y="356086"/>
                  <a:pt x="180152" y="359848"/>
                  <a:pt x="184826" y="360133"/>
                </a:cubicBezTo>
                <a:close/>
                <a:moveTo>
                  <a:pt x="536996" y="289966"/>
                </a:moveTo>
                <a:lnTo>
                  <a:pt x="536996" y="586024"/>
                </a:lnTo>
                <a:lnTo>
                  <a:pt x="311212" y="586024"/>
                </a:lnTo>
                <a:lnTo>
                  <a:pt x="311212" y="543272"/>
                </a:lnTo>
                <a:lnTo>
                  <a:pt x="387551" y="543272"/>
                </a:lnTo>
                <a:cubicBezTo>
                  <a:pt x="453253" y="543183"/>
                  <a:pt x="506488" y="489936"/>
                  <a:pt x="506562" y="424234"/>
                </a:cubicBezTo>
                <a:cubicBezTo>
                  <a:pt x="506562" y="416806"/>
                  <a:pt x="508780" y="402858"/>
                  <a:pt x="497424" y="402858"/>
                </a:cubicBezTo>
                <a:lnTo>
                  <a:pt x="411920" y="402858"/>
                </a:lnTo>
                <a:cubicBezTo>
                  <a:pt x="370959" y="402914"/>
                  <a:pt x="332907" y="424030"/>
                  <a:pt x="311185" y="458756"/>
                </a:cubicBezTo>
                <a:lnTo>
                  <a:pt x="311185" y="299077"/>
                </a:lnTo>
                <a:lnTo>
                  <a:pt x="387497" y="299077"/>
                </a:lnTo>
                <a:cubicBezTo>
                  <a:pt x="440433" y="299025"/>
                  <a:pt x="486987" y="264053"/>
                  <a:pt x="501779" y="213226"/>
                </a:cubicBezTo>
                <a:lnTo>
                  <a:pt x="572293" y="280801"/>
                </a:lnTo>
                <a:cubicBezTo>
                  <a:pt x="558719" y="282057"/>
                  <a:pt x="537236" y="275911"/>
                  <a:pt x="536996" y="289966"/>
                </a:cubicBezTo>
                <a:close/>
                <a:moveTo>
                  <a:pt x="419428" y="463940"/>
                </a:moveTo>
                <a:cubicBezTo>
                  <a:pt x="383264" y="460085"/>
                  <a:pt x="346904" y="469163"/>
                  <a:pt x="316796" y="489565"/>
                </a:cubicBezTo>
                <a:cubicBezTo>
                  <a:pt x="330683" y="448753"/>
                  <a:pt x="368970" y="421277"/>
                  <a:pt x="412080" y="421188"/>
                </a:cubicBezTo>
                <a:lnTo>
                  <a:pt x="488392" y="421188"/>
                </a:lnTo>
                <a:cubicBezTo>
                  <a:pt x="489942" y="476933"/>
                  <a:pt x="446008" y="523380"/>
                  <a:pt x="390262" y="524930"/>
                </a:cubicBezTo>
                <a:cubicBezTo>
                  <a:pt x="389403" y="524954"/>
                  <a:pt x="388544" y="524967"/>
                  <a:pt x="387685" y="524969"/>
                </a:cubicBezTo>
                <a:lnTo>
                  <a:pt x="312869" y="524969"/>
                </a:lnTo>
                <a:cubicBezTo>
                  <a:pt x="320510" y="500921"/>
                  <a:pt x="357197" y="482217"/>
                  <a:pt x="399842" y="482217"/>
                </a:cubicBezTo>
                <a:lnTo>
                  <a:pt x="419428" y="482217"/>
                </a:lnTo>
                <a:cubicBezTo>
                  <a:pt x="424475" y="481830"/>
                  <a:pt x="428253" y="477426"/>
                  <a:pt x="427867" y="472379"/>
                </a:cubicBezTo>
                <a:cubicBezTo>
                  <a:pt x="427522" y="467869"/>
                  <a:pt x="423938" y="464285"/>
                  <a:pt x="419428" y="463940"/>
                </a:cubicBezTo>
                <a:close/>
              </a:path>
            </a:pathLst>
          </a:custGeom>
          <a:solidFill>
            <a:srgbClr val="00146D"/>
          </a:solidFill>
          <a:ln w="3175" cap="flat">
            <a:solidFill>
              <a:srgbClr val="00146D"/>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31" name="Graphic 67">
            <a:extLst>
              <a:ext uri="{FF2B5EF4-FFF2-40B4-BE49-F238E27FC236}">
                <a16:creationId xmlns:a16="http://schemas.microsoft.com/office/drawing/2014/main" id="{D0778557-E491-2095-1F64-004386E187DC}"/>
              </a:ext>
            </a:extLst>
          </p:cNvPr>
          <p:cNvGrpSpPr>
            <a:grpSpLocks noChangeAspect="1"/>
          </p:cNvGrpSpPr>
          <p:nvPr/>
        </p:nvGrpSpPr>
        <p:grpSpPr>
          <a:xfrm>
            <a:off x="5241108" y="2637929"/>
            <a:ext cx="266748" cy="334138"/>
            <a:chOff x="-1186232" y="3354757"/>
            <a:chExt cx="167841" cy="210243"/>
          </a:xfrm>
          <a:solidFill>
            <a:srgbClr val="00146D"/>
          </a:solidFill>
        </p:grpSpPr>
        <p:sp>
          <p:nvSpPr>
            <p:cNvPr id="32" name="Freeform: Shape 31">
              <a:extLst>
                <a:ext uri="{FF2B5EF4-FFF2-40B4-BE49-F238E27FC236}">
                  <a16:creationId xmlns:a16="http://schemas.microsoft.com/office/drawing/2014/main" id="{BE2F7802-8D04-7224-17E5-7610D8D3FFD4}"/>
                </a:ext>
              </a:extLst>
            </p:cNvPr>
            <p:cNvSpPr/>
            <p:nvPr/>
          </p:nvSpPr>
          <p:spPr>
            <a:xfrm>
              <a:off x="-1186232" y="3354757"/>
              <a:ext cx="167841" cy="210243"/>
            </a:xfrm>
            <a:custGeom>
              <a:avLst/>
              <a:gdLst>
                <a:gd name="connsiteX0" fmla="*/ 163232 w 167841"/>
                <a:gd name="connsiteY0" fmla="*/ 83561 h 210243"/>
                <a:gd name="connsiteX1" fmla="*/ 146844 w 167841"/>
                <a:gd name="connsiteY1" fmla="*/ 64431 h 210243"/>
                <a:gd name="connsiteX2" fmla="*/ 136951 w 167841"/>
                <a:gd name="connsiteY2" fmla="*/ 60919 h 210243"/>
                <a:gd name="connsiteX3" fmla="*/ 147527 w 167841"/>
                <a:gd name="connsiteY3" fmla="*/ 42574 h 210243"/>
                <a:gd name="connsiteX4" fmla="*/ 151620 w 167841"/>
                <a:gd name="connsiteY4" fmla="*/ 24050 h 210243"/>
                <a:gd name="connsiteX5" fmla="*/ 151679 w 167841"/>
                <a:gd name="connsiteY5" fmla="*/ 3760 h 210243"/>
                <a:gd name="connsiteX6" fmla="*/ 147460 w 167841"/>
                <a:gd name="connsiteY6" fmla="*/ 2 h 210243"/>
                <a:gd name="connsiteX7" fmla="*/ 127312 w 167841"/>
                <a:gd name="connsiteY7" fmla="*/ 2397 h 210243"/>
                <a:gd name="connsiteX8" fmla="*/ 109383 w 167841"/>
                <a:gd name="connsiteY8" fmla="*/ 8598 h 210243"/>
                <a:gd name="connsiteX9" fmla="*/ 92327 w 167841"/>
                <a:gd name="connsiteY9" fmla="*/ 21272 h 210243"/>
                <a:gd name="connsiteX10" fmla="*/ 83430 w 167841"/>
                <a:gd name="connsiteY10" fmla="*/ 34130 h 210243"/>
                <a:gd name="connsiteX11" fmla="*/ 74960 w 167841"/>
                <a:gd name="connsiteY11" fmla="*/ 21910 h 210243"/>
                <a:gd name="connsiteX12" fmla="*/ 54363 w 167841"/>
                <a:gd name="connsiteY12" fmla="*/ 5954 h 210243"/>
                <a:gd name="connsiteX13" fmla="*/ 31254 w 167841"/>
                <a:gd name="connsiteY13" fmla="*/ 2518 h 210243"/>
                <a:gd name="connsiteX14" fmla="*/ 24677 w 167841"/>
                <a:gd name="connsiteY14" fmla="*/ 6553 h 210243"/>
                <a:gd name="connsiteX15" fmla="*/ 21963 w 167841"/>
                <a:gd name="connsiteY15" fmla="*/ 21573 h 210243"/>
                <a:gd name="connsiteX16" fmla="*/ 25849 w 167841"/>
                <a:gd name="connsiteY16" fmla="*/ 25265 h 210243"/>
                <a:gd name="connsiteX17" fmla="*/ 49372 w 167841"/>
                <a:gd name="connsiteY17" fmla="*/ 33880 h 210243"/>
                <a:gd name="connsiteX18" fmla="*/ 77263 w 167841"/>
                <a:gd name="connsiteY18" fmla="*/ 71779 h 210243"/>
                <a:gd name="connsiteX19" fmla="*/ 54048 w 167841"/>
                <a:gd name="connsiteY19" fmla="*/ 62277 h 210243"/>
                <a:gd name="connsiteX20" fmla="*/ 21501 w 167841"/>
                <a:gd name="connsiteY20" fmla="*/ 65099 h 210243"/>
                <a:gd name="connsiteX21" fmla="*/ 4751 w 167841"/>
                <a:gd name="connsiteY21" fmla="*/ 84559 h 210243"/>
                <a:gd name="connsiteX22" fmla="*/ 212 w 167841"/>
                <a:gd name="connsiteY22" fmla="*/ 120279 h 210243"/>
                <a:gd name="connsiteX23" fmla="*/ 222 w 167841"/>
                <a:gd name="connsiteY23" fmla="*/ 120410 h 210243"/>
                <a:gd name="connsiteX24" fmla="*/ 7005 w 167841"/>
                <a:gd name="connsiteY24" fmla="*/ 150876 h 210243"/>
                <a:gd name="connsiteX25" fmla="*/ 20191 w 167841"/>
                <a:gd name="connsiteY25" fmla="*/ 177614 h 210243"/>
                <a:gd name="connsiteX26" fmla="*/ 37491 w 167841"/>
                <a:gd name="connsiteY26" fmla="*/ 197985 h 210243"/>
                <a:gd name="connsiteX27" fmla="*/ 57090 w 167841"/>
                <a:gd name="connsiteY27" fmla="*/ 209183 h 210243"/>
                <a:gd name="connsiteX28" fmla="*/ 64832 w 167841"/>
                <a:gd name="connsiteY28" fmla="*/ 210244 h 210243"/>
                <a:gd name="connsiteX29" fmla="*/ 73511 w 167841"/>
                <a:gd name="connsiteY29" fmla="*/ 208720 h 210243"/>
                <a:gd name="connsiteX30" fmla="*/ 84074 w 167841"/>
                <a:gd name="connsiteY30" fmla="*/ 201541 h 210243"/>
                <a:gd name="connsiteX31" fmla="*/ 95644 w 167841"/>
                <a:gd name="connsiteY31" fmla="*/ 208509 h 210243"/>
                <a:gd name="connsiteX32" fmla="*/ 112673 w 167841"/>
                <a:gd name="connsiteY32" fmla="*/ 208299 h 210243"/>
                <a:gd name="connsiteX33" fmla="*/ 131975 w 167841"/>
                <a:gd name="connsiteY33" fmla="*/ 196524 h 210243"/>
                <a:gd name="connsiteX34" fmla="*/ 148636 w 167841"/>
                <a:gd name="connsiteY34" fmla="*/ 175871 h 210243"/>
                <a:gd name="connsiteX35" fmla="*/ 167620 w 167841"/>
                <a:gd name="connsiteY35" fmla="*/ 118852 h 210243"/>
                <a:gd name="connsiteX36" fmla="*/ 167630 w 167841"/>
                <a:gd name="connsiteY36" fmla="*/ 118720 h 210243"/>
                <a:gd name="connsiteX37" fmla="*/ 163232 w 167841"/>
                <a:gd name="connsiteY37" fmla="*/ 83561 h 210243"/>
                <a:gd name="connsiteX38" fmla="*/ 98779 w 167841"/>
                <a:gd name="connsiteY38" fmla="*/ 27019 h 210243"/>
                <a:gd name="connsiteX39" fmla="*/ 129013 w 167841"/>
                <a:gd name="connsiteY39" fmla="*/ 10871 h 210243"/>
                <a:gd name="connsiteX40" fmla="*/ 143422 w 167841"/>
                <a:gd name="connsiteY40" fmla="*/ 8782 h 210243"/>
                <a:gd name="connsiteX41" fmla="*/ 143007 w 167841"/>
                <a:gd name="connsiteY41" fmla="*/ 23336 h 210243"/>
                <a:gd name="connsiteX42" fmla="*/ 130450 w 167841"/>
                <a:gd name="connsiteY42" fmla="*/ 55230 h 210243"/>
                <a:gd name="connsiteX43" fmla="*/ 125205 w 167841"/>
                <a:gd name="connsiteY43" fmla="*/ 60157 h 210243"/>
                <a:gd name="connsiteX44" fmla="*/ 113999 w 167841"/>
                <a:gd name="connsiteY44" fmla="*/ 61888 h 210243"/>
                <a:gd name="connsiteX45" fmla="*/ 90804 w 167841"/>
                <a:gd name="connsiteY45" fmla="*/ 71543 h 210243"/>
                <a:gd name="connsiteX46" fmla="*/ 91281 w 167841"/>
                <a:gd name="connsiteY46" fmla="*/ 66150 h 210243"/>
                <a:gd name="connsiteX47" fmla="*/ 89571 w 167841"/>
                <a:gd name="connsiteY47" fmla="*/ 49797 h 210243"/>
                <a:gd name="connsiteX48" fmla="*/ 88265 w 167841"/>
                <a:gd name="connsiteY48" fmla="*/ 45265 h 210243"/>
                <a:gd name="connsiteX49" fmla="*/ 98779 w 167841"/>
                <a:gd name="connsiteY49" fmla="*/ 27019 h 210243"/>
                <a:gd name="connsiteX50" fmla="*/ 53888 w 167841"/>
                <a:gd name="connsiteY50" fmla="*/ 26514 h 210243"/>
                <a:gd name="connsiteX51" fmla="*/ 30255 w 167841"/>
                <a:gd name="connsiteY51" fmla="*/ 17219 h 210243"/>
                <a:gd name="connsiteX52" fmla="*/ 32602 w 167841"/>
                <a:gd name="connsiteY52" fmla="*/ 11053 h 210243"/>
                <a:gd name="connsiteX53" fmla="*/ 32866 w 167841"/>
                <a:gd name="connsiteY53" fmla="*/ 11007 h 210243"/>
                <a:gd name="connsiteX54" fmla="*/ 68416 w 167841"/>
                <a:gd name="connsiteY54" fmla="*/ 27552 h 210243"/>
                <a:gd name="connsiteX55" fmla="*/ 82601 w 167841"/>
                <a:gd name="connsiteY55" fmla="*/ 60829 h 210243"/>
                <a:gd name="connsiteX56" fmla="*/ 74548 w 167841"/>
                <a:gd name="connsiteY56" fmla="*/ 45930 h 210243"/>
                <a:gd name="connsiteX57" fmla="*/ 53888 w 167841"/>
                <a:gd name="connsiteY57" fmla="*/ 26514 h 210243"/>
                <a:gd name="connsiteX58" fmla="*/ 159007 w 167841"/>
                <a:gd name="connsiteY58" fmla="*/ 118164 h 210243"/>
                <a:gd name="connsiteX59" fmla="*/ 141282 w 167841"/>
                <a:gd name="connsiteY59" fmla="*/ 171336 h 210243"/>
                <a:gd name="connsiteX60" fmla="*/ 110150 w 167841"/>
                <a:gd name="connsiteY60" fmla="*/ 200035 h 210243"/>
                <a:gd name="connsiteX61" fmla="*/ 87220 w 167841"/>
                <a:gd name="connsiteY61" fmla="*/ 192226 h 210243"/>
                <a:gd name="connsiteX62" fmla="*/ 83709 w 167841"/>
                <a:gd name="connsiteY62" fmla="*/ 190624 h 210243"/>
                <a:gd name="connsiteX63" fmla="*/ 80319 w 167841"/>
                <a:gd name="connsiteY63" fmla="*/ 192467 h 210243"/>
                <a:gd name="connsiteX64" fmla="*/ 59322 w 167841"/>
                <a:gd name="connsiteY64" fmla="*/ 200836 h 210243"/>
                <a:gd name="connsiteX65" fmla="*/ 8834 w 167841"/>
                <a:gd name="connsiteY65" fmla="*/ 119723 h 210243"/>
                <a:gd name="connsiteX66" fmla="*/ 25585 w 167841"/>
                <a:gd name="connsiteY66" fmla="*/ 72713 h 210243"/>
                <a:gd name="connsiteX67" fmla="*/ 80327 w 167841"/>
                <a:gd name="connsiteY67" fmla="*/ 84091 h 210243"/>
                <a:gd name="connsiteX68" fmla="*/ 83447 w 167841"/>
                <a:gd name="connsiteY68" fmla="*/ 85912 h 210243"/>
                <a:gd name="connsiteX69" fmla="*/ 83862 w 167841"/>
                <a:gd name="connsiteY69" fmla="*/ 85931 h 210243"/>
                <a:gd name="connsiteX70" fmla="*/ 87396 w 167841"/>
                <a:gd name="connsiteY70" fmla="*/ 84088 h 210243"/>
                <a:gd name="connsiteX71" fmla="*/ 142760 w 167841"/>
                <a:gd name="connsiteY71" fmla="*/ 72045 h 210243"/>
                <a:gd name="connsiteX72" fmla="*/ 155220 w 167841"/>
                <a:gd name="connsiteY72" fmla="*/ 86794 h 210243"/>
                <a:gd name="connsiteX73" fmla="*/ 159007 w 167841"/>
                <a:gd name="connsiteY73" fmla="*/ 118164 h 21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7841" h="210243">
                  <a:moveTo>
                    <a:pt x="163232" y="83561"/>
                  </a:moveTo>
                  <a:cubicBezTo>
                    <a:pt x="159700" y="74806"/>
                    <a:pt x="154186" y="68370"/>
                    <a:pt x="146844" y="64431"/>
                  </a:cubicBezTo>
                  <a:cubicBezTo>
                    <a:pt x="143818" y="62808"/>
                    <a:pt x="140503" y="61637"/>
                    <a:pt x="136951" y="60919"/>
                  </a:cubicBezTo>
                  <a:cubicBezTo>
                    <a:pt x="141429" y="55875"/>
                    <a:pt x="144988" y="49704"/>
                    <a:pt x="147527" y="42574"/>
                  </a:cubicBezTo>
                  <a:cubicBezTo>
                    <a:pt x="149529" y="36951"/>
                    <a:pt x="150907" y="30718"/>
                    <a:pt x="151620" y="24050"/>
                  </a:cubicBezTo>
                  <a:cubicBezTo>
                    <a:pt x="152828" y="12763"/>
                    <a:pt x="151726" y="4122"/>
                    <a:pt x="151679" y="3760"/>
                  </a:cubicBezTo>
                  <a:cubicBezTo>
                    <a:pt x="151400" y="1634"/>
                    <a:pt x="149604" y="34"/>
                    <a:pt x="147460" y="2"/>
                  </a:cubicBezTo>
                  <a:cubicBezTo>
                    <a:pt x="147095" y="-3"/>
                    <a:pt x="138384" y="-102"/>
                    <a:pt x="127312" y="2397"/>
                  </a:cubicBezTo>
                  <a:cubicBezTo>
                    <a:pt x="120770" y="3875"/>
                    <a:pt x="114738" y="5961"/>
                    <a:pt x="109383" y="8598"/>
                  </a:cubicBezTo>
                  <a:cubicBezTo>
                    <a:pt x="102567" y="11954"/>
                    <a:pt x="96829" y="16218"/>
                    <a:pt x="92327" y="21272"/>
                  </a:cubicBezTo>
                  <a:cubicBezTo>
                    <a:pt x="88604" y="25452"/>
                    <a:pt x="85680" y="29664"/>
                    <a:pt x="83430" y="34130"/>
                  </a:cubicBezTo>
                  <a:cubicBezTo>
                    <a:pt x="81075" y="29817"/>
                    <a:pt x="78234" y="25709"/>
                    <a:pt x="74960" y="21910"/>
                  </a:cubicBezTo>
                  <a:cubicBezTo>
                    <a:pt x="68954" y="14943"/>
                    <a:pt x="61832" y="9426"/>
                    <a:pt x="54363" y="5954"/>
                  </a:cubicBezTo>
                  <a:cubicBezTo>
                    <a:pt x="46412" y="2257"/>
                    <a:pt x="38424" y="1071"/>
                    <a:pt x="31254" y="2518"/>
                  </a:cubicBezTo>
                  <a:cubicBezTo>
                    <a:pt x="30156" y="2689"/>
                    <a:pt x="27124" y="3430"/>
                    <a:pt x="24677" y="6553"/>
                  </a:cubicBezTo>
                  <a:cubicBezTo>
                    <a:pt x="21950" y="10034"/>
                    <a:pt x="21037" y="15087"/>
                    <a:pt x="21963" y="21573"/>
                  </a:cubicBezTo>
                  <a:cubicBezTo>
                    <a:pt x="22246" y="23555"/>
                    <a:pt x="23854" y="25083"/>
                    <a:pt x="25849" y="25265"/>
                  </a:cubicBezTo>
                  <a:cubicBezTo>
                    <a:pt x="25960" y="25275"/>
                    <a:pt x="37110" y="26362"/>
                    <a:pt x="49372" y="33880"/>
                  </a:cubicBezTo>
                  <a:cubicBezTo>
                    <a:pt x="63110" y="42302"/>
                    <a:pt x="72461" y="55024"/>
                    <a:pt x="77263" y="71779"/>
                  </a:cubicBezTo>
                  <a:cubicBezTo>
                    <a:pt x="69706" y="67365"/>
                    <a:pt x="61720" y="64077"/>
                    <a:pt x="54048" y="62277"/>
                  </a:cubicBezTo>
                  <a:cubicBezTo>
                    <a:pt x="41630" y="59362"/>
                    <a:pt x="30376" y="60339"/>
                    <a:pt x="21501" y="65099"/>
                  </a:cubicBezTo>
                  <a:cubicBezTo>
                    <a:pt x="14010" y="69118"/>
                    <a:pt x="8374" y="75665"/>
                    <a:pt x="4751" y="84559"/>
                  </a:cubicBezTo>
                  <a:cubicBezTo>
                    <a:pt x="926" y="93948"/>
                    <a:pt x="-601" y="105966"/>
                    <a:pt x="212" y="120279"/>
                  </a:cubicBezTo>
                  <a:cubicBezTo>
                    <a:pt x="215" y="120323"/>
                    <a:pt x="218" y="120366"/>
                    <a:pt x="222" y="120410"/>
                  </a:cubicBezTo>
                  <a:cubicBezTo>
                    <a:pt x="1106" y="130517"/>
                    <a:pt x="3388" y="140767"/>
                    <a:pt x="7005" y="150876"/>
                  </a:cubicBezTo>
                  <a:cubicBezTo>
                    <a:pt x="10411" y="160399"/>
                    <a:pt x="14848" y="169395"/>
                    <a:pt x="20191" y="177614"/>
                  </a:cubicBezTo>
                  <a:cubicBezTo>
                    <a:pt x="25455" y="185712"/>
                    <a:pt x="31276" y="192566"/>
                    <a:pt x="37491" y="197985"/>
                  </a:cubicBezTo>
                  <a:cubicBezTo>
                    <a:pt x="44030" y="203686"/>
                    <a:pt x="50624" y="207454"/>
                    <a:pt x="57090" y="209183"/>
                  </a:cubicBezTo>
                  <a:cubicBezTo>
                    <a:pt x="59736" y="209890"/>
                    <a:pt x="62321" y="210244"/>
                    <a:pt x="64832" y="210244"/>
                  </a:cubicBezTo>
                  <a:cubicBezTo>
                    <a:pt x="67841" y="210244"/>
                    <a:pt x="70743" y="209736"/>
                    <a:pt x="73511" y="208720"/>
                  </a:cubicBezTo>
                  <a:cubicBezTo>
                    <a:pt x="77406" y="207291"/>
                    <a:pt x="80944" y="204885"/>
                    <a:pt x="84074" y="201541"/>
                  </a:cubicBezTo>
                  <a:cubicBezTo>
                    <a:pt x="87589" y="204872"/>
                    <a:pt x="91465" y="207209"/>
                    <a:pt x="95644" y="208509"/>
                  </a:cubicBezTo>
                  <a:cubicBezTo>
                    <a:pt x="101013" y="210179"/>
                    <a:pt x="106742" y="210109"/>
                    <a:pt x="112673" y="208299"/>
                  </a:cubicBezTo>
                  <a:cubicBezTo>
                    <a:pt x="119128" y="206329"/>
                    <a:pt x="125622" y="202367"/>
                    <a:pt x="131975" y="196524"/>
                  </a:cubicBezTo>
                  <a:cubicBezTo>
                    <a:pt x="137991" y="190991"/>
                    <a:pt x="143597" y="184042"/>
                    <a:pt x="148636" y="175871"/>
                  </a:cubicBezTo>
                  <a:cubicBezTo>
                    <a:pt x="159153" y="158819"/>
                    <a:pt x="165895" y="138569"/>
                    <a:pt x="167620" y="118852"/>
                  </a:cubicBezTo>
                  <a:cubicBezTo>
                    <a:pt x="167624" y="118808"/>
                    <a:pt x="167627" y="118764"/>
                    <a:pt x="167630" y="118720"/>
                  </a:cubicBezTo>
                  <a:cubicBezTo>
                    <a:pt x="168431" y="104609"/>
                    <a:pt x="166952" y="92780"/>
                    <a:pt x="163232" y="83561"/>
                  </a:cubicBezTo>
                  <a:close/>
                  <a:moveTo>
                    <a:pt x="98779" y="27019"/>
                  </a:moveTo>
                  <a:cubicBezTo>
                    <a:pt x="107323" y="17427"/>
                    <a:pt x="119936" y="12943"/>
                    <a:pt x="129013" y="10871"/>
                  </a:cubicBezTo>
                  <a:cubicBezTo>
                    <a:pt x="134876" y="9533"/>
                    <a:pt x="140075" y="8996"/>
                    <a:pt x="143422" y="8782"/>
                  </a:cubicBezTo>
                  <a:cubicBezTo>
                    <a:pt x="143595" y="12133"/>
                    <a:pt x="143661" y="17359"/>
                    <a:pt x="143007" y="23336"/>
                  </a:cubicBezTo>
                  <a:cubicBezTo>
                    <a:pt x="141994" y="32592"/>
                    <a:pt x="138993" y="45638"/>
                    <a:pt x="130450" y="55230"/>
                  </a:cubicBezTo>
                  <a:cubicBezTo>
                    <a:pt x="128891" y="56979"/>
                    <a:pt x="127127" y="58634"/>
                    <a:pt x="125205" y="60157"/>
                  </a:cubicBezTo>
                  <a:cubicBezTo>
                    <a:pt x="121611" y="60362"/>
                    <a:pt x="117864" y="60937"/>
                    <a:pt x="113999" y="61888"/>
                  </a:cubicBezTo>
                  <a:cubicBezTo>
                    <a:pt x="106360" y="63767"/>
                    <a:pt x="98385" y="67105"/>
                    <a:pt x="90804" y="71543"/>
                  </a:cubicBezTo>
                  <a:cubicBezTo>
                    <a:pt x="91051" y="69757"/>
                    <a:pt x="91210" y="67958"/>
                    <a:pt x="91281" y="66150"/>
                  </a:cubicBezTo>
                  <a:cubicBezTo>
                    <a:pt x="91495" y="60739"/>
                    <a:pt x="90919" y="55237"/>
                    <a:pt x="89571" y="49797"/>
                  </a:cubicBezTo>
                  <a:cubicBezTo>
                    <a:pt x="89194" y="48276"/>
                    <a:pt x="88758" y="46764"/>
                    <a:pt x="88265" y="45265"/>
                  </a:cubicBezTo>
                  <a:cubicBezTo>
                    <a:pt x="90283" y="38548"/>
                    <a:pt x="93545" y="32895"/>
                    <a:pt x="98779" y="27019"/>
                  </a:cubicBezTo>
                  <a:close/>
                  <a:moveTo>
                    <a:pt x="53888" y="26514"/>
                  </a:moveTo>
                  <a:cubicBezTo>
                    <a:pt x="44206" y="20578"/>
                    <a:pt x="35105" y="18160"/>
                    <a:pt x="30255" y="17219"/>
                  </a:cubicBezTo>
                  <a:cubicBezTo>
                    <a:pt x="30195" y="12891"/>
                    <a:pt x="31648" y="11290"/>
                    <a:pt x="32602" y="11053"/>
                  </a:cubicBezTo>
                  <a:cubicBezTo>
                    <a:pt x="32691" y="11040"/>
                    <a:pt x="32779" y="11025"/>
                    <a:pt x="32866" y="11007"/>
                  </a:cubicBezTo>
                  <a:cubicBezTo>
                    <a:pt x="43841" y="8736"/>
                    <a:pt x="57795" y="15231"/>
                    <a:pt x="68416" y="27552"/>
                  </a:cubicBezTo>
                  <a:cubicBezTo>
                    <a:pt x="77040" y="37557"/>
                    <a:pt x="81890" y="49208"/>
                    <a:pt x="82601" y="60829"/>
                  </a:cubicBezTo>
                  <a:cubicBezTo>
                    <a:pt x="80414" y="55445"/>
                    <a:pt x="77725" y="50467"/>
                    <a:pt x="74548" y="45930"/>
                  </a:cubicBezTo>
                  <a:cubicBezTo>
                    <a:pt x="69048" y="38079"/>
                    <a:pt x="62097" y="31547"/>
                    <a:pt x="53888" y="26514"/>
                  </a:cubicBezTo>
                  <a:close/>
                  <a:moveTo>
                    <a:pt x="159007" y="118164"/>
                  </a:moveTo>
                  <a:cubicBezTo>
                    <a:pt x="157388" y="136546"/>
                    <a:pt x="151095" y="155426"/>
                    <a:pt x="141282" y="171336"/>
                  </a:cubicBezTo>
                  <a:cubicBezTo>
                    <a:pt x="132013" y="186365"/>
                    <a:pt x="120666" y="196826"/>
                    <a:pt x="110150" y="200035"/>
                  </a:cubicBezTo>
                  <a:cubicBezTo>
                    <a:pt x="101305" y="202734"/>
                    <a:pt x="93590" y="200107"/>
                    <a:pt x="87220" y="192226"/>
                  </a:cubicBezTo>
                  <a:cubicBezTo>
                    <a:pt x="86366" y="191170"/>
                    <a:pt x="85068" y="190577"/>
                    <a:pt x="83709" y="190624"/>
                  </a:cubicBezTo>
                  <a:cubicBezTo>
                    <a:pt x="82352" y="190671"/>
                    <a:pt x="81096" y="191354"/>
                    <a:pt x="80319" y="192467"/>
                  </a:cubicBezTo>
                  <a:cubicBezTo>
                    <a:pt x="74856" y="200285"/>
                    <a:pt x="67792" y="203101"/>
                    <a:pt x="59322" y="200836"/>
                  </a:cubicBezTo>
                  <a:cubicBezTo>
                    <a:pt x="38361" y="195231"/>
                    <a:pt x="12328" y="159359"/>
                    <a:pt x="8834" y="119723"/>
                  </a:cubicBezTo>
                  <a:cubicBezTo>
                    <a:pt x="7475" y="95576"/>
                    <a:pt x="13267" y="79321"/>
                    <a:pt x="25585" y="72713"/>
                  </a:cubicBezTo>
                  <a:cubicBezTo>
                    <a:pt x="41205" y="64335"/>
                    <a:pt x="64127" y="72304"/>
                    <a:pt x="80327" y="84091"/>
                  </a:cubicBezTo>
                  <a:cubicBezTo>
                    <a:pt x="81035" y="85100"/>
                    <a:pt x="82159" y="85788"/>
                    <a:pt x="83447" y="85912"/>
                  </a:cubicBezTo>
                  <a:cubicBezTo>
                    <a:pt x="83586" y="85925"/>
                    <a:pt x="83725" y="85931"/>
                    <a:pt x="83862" y="85931"/>
                  </a:cubicBezTo>
                  <a:cubicBezTo>
                    <a:pt x="85283" y="85931"/>
                    <a:pt x="86597" y="85229"/>
                    <a:pt x="87396" y="84088"/>
                  </a:cubicBezTo>
                  <a:cubicBezTo>
                    <a:pt x="103977" y="72007"/>
                    <a:pt x="127240" y="63720"/>
                    <a:pt x="142760" y="72045"/>
                  </a:cubicBezTo>
                  <a:cubicBezTo>
                    <a:pt x="148272" y="75002"/>
                    <a:pt x="152464" y="79964"/>
                    <a:pt x="155220" y="86794"/>
                  </a:cubicBezTo>
                  <a:cubicBezTo>
                    <a:pt x="158454" y="94809"/>
                    <a:pt x="159728" y="105363"/>
                    <a:pt x="159007" y="118164"/>
                  </a:cubicBezTo>
                  <a:close/>
                </a:path>
              </a:pathLst>
            </a:custGeom>
            <a:grpFill/>
            <a:ln w="1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Shape 32">
              <a:extLst>
                <a:ext uri="{FF2B5EF4-FFF2-40B4-BE49-F238E27FC236}">
                  <a16:creationId xmlns:a16="http://schemas.microsoft.com/office/drawing/2014/main" id="{05E2002F-5819-E027-93DA-58A7C6124EB9}"/>
                </a:ext>
              </a:extLst>
            </p:cNvPr>
            <p:cNvSpPr/>
            <p:nvPr/>
          </p:nvSpPr>
          <p:spPr>
            <a:xfrm>
              <a:off x="-1171580" y="3430732"/>
              <a:ext cx="44502" cy="34335"/>
            </a:xfrm>
            <a:custGeom>
              <a:avLst/>
              <a:gdLst>
                <a:gd name="connsiteX0" fmla="*/ 40900 w 44502"/>
                <a:gd name="connsiteY0" fmla="*/ 882 h 34335"/>
                <a:gd name="connsiteX1" fmla="*/ 12866 w 44502"/>
                <a:gd name="connsiteY1" fmla="*/ 5251 h 34335"/>
                <a:gd name="connsiteX2" fmla="*/ 56 w 44502"/>
                <a:gd name="connsiteY2" fmla="*/ 29328 h 34335"/>
                <a:gd name="connsiteX3" fmla="*/ 3633 w 44502"/>
                <a:gd name="connsiteY3" fmla="*/ 34280 h 34335"/>
                <a:gd name="connsiteX4" fmla="*/ 4326 w 44502"/>
                <a:gd name="connsiteY4" fmla="*/ 34336 h 34335"/>
                <a:gd name="connsiteX5" fmla="*/ 8586 w 44502"/>
                <a:gd name="connsiteY5" fmla="*/ 30702 h 34335"/>
                <a:gd name="connsiteX6" fmla="*/ 17900 w 44502"/>
                <a:gd name="connsiteY6" fmla="*/ 12273 h 34335"/>
                <a:gd name="connsiteX7" fmla="*/ 39464 w 44502"/>
                <a:gd name="connsiteY7" fmla="*/ 9402 h 34335"/>
                <a:gd name="connsiteX8" fmla="*/ 44442 w 44502"/>
                <a:gd name="connsiteY8" fmla="*/ 5860 h 34335"/>
                <a:gd name="connsiteX9" fmla="*/ 40900 w 44502"/>
                <a:gd name="connsiteY9" fmla="*/ 882 h 3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502" h="34335">
                  <a:moveTo>
                    <a:pt x="40900" y="882"/>
                  </a:moveTo>
                  <a:cubicBezTo>
                    <a:pt x="28947" y="-1133"/>
                    <a:pt x="19777" y="296"/>
                    <a:pt x="12866" y="5251"/>
                  </a:cubicBezTo>
                  <a:cubicBezTo>
                    <a:pt x="6166" y="10054"/>
                    <a:pt x="1857" y="18154"/>
                    <a:pt x="56" y="29328"/>
                  </a:cubicBezTo>
                  <a:cubicBezTo>
                    <a:pt x="-324" y="31683"/>
                    <a:pt x="1278" y="33900"/>
                    <a:pt x="3633" y="34280"/>
                  </a:cubicBezTo>
                  <a:cubicBezTo>
                    <a:pt x="3866" y="34317"/>
                    <a:pt x="4097" y="34336"/>
                    <a:pt x="4326" y="34336"/>
                  </a:cubicBezTo>
                  <a:cubicBezTo>
                    <a:pt x="6409" y="34335"/>
                    <a:pt x="8244" y="32825"/>
                    <a:pt x="8586" y="30702"/>
                  </a:cubicBezTo>
                  <a:cubicBezTo>
                    <a:pt x="10007" y="21886"/>
                    <a:pt x="13140" y="15685"/>
                    <a:pt x="17900" y="12273"/>
                  </a:cubicBezTo>
                  <a:cubicBezTo>
                    <a:pt x="22844" y="8728"/>
                    <a:pt x="29897" y="7789"/>
                    <a:pt x="39464" y="9402"/>
                  </a:cubicBezTo>
                  <a:cubicBezTo>
                    <a:pt x="41817" y="9798"/>
                    <a:pt x="44045" y="8213"/>
                    <a:pt x="44442" y="5860"/>
                  </a:cubicBezTo>
                  <a:cubicBezTo>
                    <a:pt x="44838" y="3508"/>
                    <a:pt x="43253" y="1279"/>
                    <a:pt x="40900" y="882"/>
                  </a:cubicBezTo>
                  <a:close/>
                </a:path>
              </a:pathLst>
            </a:custGeom>
            <a:grpFill/>
            <a:ln w="1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34" name="Rectangle: Rounded Corners 33">
            <a:extLst>
              <a:ext uri="{FF2B5EF4-FFF2-40B4-BE49-F238E27FC236}">
                <a16:creationId xmlns:a16="http://schemas.microsoft.com/office/drawing/2014/main" id="{BBE88A3E-05A7-2E22-C1A0-5FE1EE18097F}"/>
              </a:ext>
            </a:extLst>
          </p:cNvPr>
          <p:cNvSpPr/>
          <p:nvPr/>
        </p:nvSpPr>
        <p:spPr>
          <a:xfrm>
            <a:off x="9647787" y="3391235"/>
            <a:ext cx="1110904" cy="794716"/>
          </a:xfrm>
          <a:prstGeom prst="roundRect">
            <a:avLst/>
          </a:prstGeom>
          <a:solidFill>
            <a:schemeClr val="accent6">
              <a:lumMod val="20000"/>
              <a:lumOff val="80000"/>
            </a:schemeClr>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sym typeface="Arial"/>
              </a:rPr>
              <a:t>Land</a:t>
            </a:r>
          </a:p>
        </p:txBody>
      </p:sp>
      <p:sp>
        <p:nvSpPr>
          <p:cNvPr id="35" name="Rectangle: Rounded Corners 34">
            <a:extLst>
              <a:ext uri="{FF2B5EF4-FFF2-40B4-BE49-F238E27FC236}">
                <a16:creationId xmlns:a16="http://schemas.microsoft.com/office/drawing/2014/main" id="{87CE6A63-6246-31BB-CFE4-711AD5BE1C1D}"/>
              </a:ext>
            </a:extLst>
          </p:cNvPr>
          <p:cNvSpPr/>
          <p:nvPr/>
        </p:nvSpPr>
        <p:spPr>
          <a:xfrm>
            <a:off x="8498206" y="2529274"/>
            <a:ext cx="1110904" cy="794716"/>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sym typeface="Arial"/>
              </a:rPr>
              <a:t>Biomass</a:t>
            </a:r>
          </a:p>
        </p:txBody>
      </p:sp>
      <p:sp>
        <p:nvSpPr>
          <p:cNvPr id="36" name="Rectangle: Rounded Corners 35">
            <a:extLst>
              <a:ext uri="{FF2B5EF4-FFF2-40B4-BE49-F238E27FC236}">
                <a16:creationId xmlns:a16="http://schemas.microsoft.com/office/drawing/2014/main" id="{08186496-CDA6-166F-58F4-670072F8327E}"/>
              </a:ext>
            </a:extLst>
          </p:cNvPr>
          <p:cNvSpPr/>
          <p:nvPr/>
        </p:nvSpPr>
        <p:spPr>
          <a:xfrm>
            <a:off x="9647787" y="2529274"/>
            <a:ext cx="1110904" cy="794716"/>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lang="en-US" sz="1200" b="1" kern="0">
                <a:solidFill>
                  <a:srgbClr val="000000"/>
                </a:solidFill>
                <a:latin typeface="Arial"/>
                <a:sym typeface="Arial"/>
              </a:rPr>
              <a:t>Fossil fuels</a:t>
            </a:r>
            <a:endParaRPr kumimoji="0" lang="en-US"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7" name="Rectangle: Rounded Corners 36">
            <a:extLst>
              <a:ext uri="{FF2B5EF4-FFF2-40B4-BE49-F238E27FC236}">
                <a16:creationId xmlns:a16="http://schemas.microsoft.com/office/drawing/2014/main" id="{2072DD01-B982-BADE-D401-0CD0029CD568}"/>
              </a:ext>
            </a:extLst>
          </p:cNvPr>
          <p:cNvSpPr/>
          <p:nvPr/>
        </p:nvSpPr>
        <p:spPr>
          <a:xfrm>
            <a:off x="10797368" y="2529274"/>
            <a:ext cx="1110904" cy="794716"/>
          </a:xfrm>
          <a:prstGeom prst="roundRect">
            <a:avLst/>
          </a:prstGeom>
          <a:solidFill>
            <a:srgbClr val="FFFFFF"/>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sym typeface="Arial"/>
              </a:rPr>
              <a:t>Metals </a:t>
            </a:r>
            <a:r>
              <a:rPr lang="en-US" sz="1200" b="1" kern="0">
                <a:solidFill>
                  <a:srgbClr val="000000"/>
                </a:solidFill>
                <a:latin typeface="Arial"/>
                <a:sym typeface="Arial"/>
              </a:rPr>
              <a:t>ores</a:t>
            </a:r>
            <a:endParaRPr kumimoji="0" lang="en-US"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8" name="Rectangle: Rounded Corners 37">
            <a:extLst>
              <a:ext uri="{FF2B5EF4-FFF2-40B4-BE49-F238E27FC236}">
                <a16:creationId xmlns:a16="http://schemas.microsoft.com/office/drawing/2014/main" id="{07C48BFC-EB2F-1743-0DF5-487B11D45DC7}"/>
              </a:ext>
            </a:extLst>
          </p:cNvPr>
          <p:cNvSpPr/>
          <p:nvPr/>
        </p:nvSpPr>
        <p:spPr>
          <a:xfrm>
            <a:off x="8498206" y="3391235"/>
            <a:ext cx="1110904" cy="794716"/>
          </a:xfrm>
          <a:prstGeom prst="roundRect">
            <a:avLst/>
          </a:prstGeom>
          <a:solidFill>
            <a:srgbClr val="FFFFFF"/>
          </a:solidFill>
          <a:ln w="12700" cap="flat" cmpd="sng" algn="ctr">
            <a:solidFill>
              <a:srgbClr val="00B0F0"/>
            </a:solidFill>
            <a:prstDash val="sysDot"/>
          </a:ln>
          <a:effectLst/>
        </p:spPr>
        <p:txBody>
          <a:bodyPr lIns="0" rIns="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lang="en-US" sz="1200" b="1" kern="0">
                <a:solidFill>
                  <a:srgbClr val="000000"/>
                </a:solidFill>
                <a:latin typeface="Arial"/>
                <a:sym typeface="Arial"/>
              </a:rPr>
              <a:t>Non-metallic minerals</a:t>
            </a:r>
            <a:endParaRPr kumimoji="0" lang="en-US"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39" name="Rectangle: Rounded Corners 38">
            <a:extLst>
              <a:ext uri="{FF2B5EF4-FFF2-40B4-BE49-F238E27FC236}">
                <a16:creationId xmlns:a16="http://schemas.microsoft.com/office/drawing/2014/main" id="{55A93E66-6CA1-B01D-1232-528BCE0B3238}"/>
              </a:ext>
            </a:extLst>
          </p:cNvPr>
          <p:cNvSpPr/>
          <p:nvPr/>
        </p:nvSpPr>
        <p:spPr>
          <a:xfrm>
            <a:off x="10797368" y="3391235"/>
            <a:ext cx="1110904" cy="794716"/>
          </a:xfrm>
          <a:prstGeom prst="roundRect">
            <a:avLst/>
          </a:prstGeom>
          <a:solidFill>
            <a:schemeClr val="accent6">
              <a:lumMod val="20000"/>
              <a:lumOff val="80000"/>
            </a:schemeClr>
          </a:solidFill>
          <a:ln w="12700" cap="flat" cmpd="sng" algn="ctr">
            <a:solidFill>
              <a:srgbClr val="00B0F0"/>
            </a:solidFill>
            <a:prstDash val="sysDot"/>
          </a:ln>
          <a:effectLst/>
        </p:spPr>
        <p:txBody>
          <a:bodyPr lIns="36000" rIns="36000" rtlCol="0" anchor="b"/>
          <a:lstStyle/>
          <a:p>
            <a:pPr marL="0" marR="0" lvl="0" indent="0" algn="ctr" defTabSz="914400" eaLnBrk="1" fontAlgn="auto" latinLnBrk="0" hangingPunct="1">
              <a:lnSpc>
                <a:spcPct val="9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Arial"/>
                <a:ea typeface="+mn-ea"/>
                <a:cs typeface="+mn-cs"/>
                <a:sym typeface="Arial"/>
              </a:rPr>
              <a:t>Water</a:t>
            </a:r>
          </a:p>
        </p:txBody>
      </p:sp>
      <p:sp>
        <p:nvSpPr>
          <p:cNvPr id="40" name="Freeform: Shape 39">
            <a:extLst>
              <a:ext uri="{FF2B5EF4-FFF2-40B4-BE49-F238E27FC236}">
                <a16:creationId xmlns:a16="http://schemas.microsoft.com/office/drawing/2014/main" id="{B83AD068-E5A5-2C2A-7B37-BD07F919CAC2}"/>
              </a:ext>
            </a:extLst>
          </p:cNvPr>
          <p:cNvSpPr/>
          <p:nvPr/>
        </p:nvSpPr>
        <p:spPr>
          <a:xfrm rot="10800000" flipV="1">
            <a:off x="8871494" y="2654849"/>
            <a:ext cx="364330" cy="370855"/>
          </a:xfrm>
          <a:custGeom>
            <a:avLst/>
            <a:gdLst>
              <a:gd name="connsiteX0" fmla="*/ 12857 w 378443"/>
              <a:gd name="connsiteY0" fmla="*/ -2989 h 385220"/>
              <a:gd name="connsiteX1" fmla="*/ 19113 w 378443"/>
              <a:gd name="connsiteY1" fmla="*/ -1130 h 385220"/>
              <a:gd name="connsiteX2" fmla="*/ 171721 w 378443"/>
              <a:gd name="connsiteY2" fmla="*/ 55240 h 385220"/>
              <a:gd name="connsiteX3" fmla="*/ 313241 w 378443"/>
              <a:gd name="connsiteY3" fmla="*/ 121970 h 385220"/>
              <a:gd name="connsiteX4" fmla="*/ 313476 w 378443"/>
              <a:gd name="connsiteY4" fmla="*/ 122192 h 385220"/>
              <a:gd name="connsiteX5" fmla="*/ 350463 w 378443"/>
              <a:gd name="connsiteY5" fmla="*/ 230193 h 385220"/>
              <a:gd name="connsiteX6" fmla="*/ 318338 w 378443"/>
              <a:gd name="connsiteY6" fmla="*/ 313572 h 385220"/>
              <a:gd name="connsiteX7" fmla="*/ 368605 w 378443"/>
              <a:gd name="connsiteY7" fmla="*/ 325971 h 385220"/>
              <a:gd name="connsiteX8" fmla="*/ 378621 w 378443"/>
              <a:gd name="connsiteY8" fmla="*/ 336289 h 385220"/>
              <a:gd name="connsiteX9" fmla="*/ 378621 w 378443"/>
              <a:gd name="connsiteY9" fmla="*/ 336289 h 385220"/>
              <a:gd name="connsiteX10" fmla="*/ 368330 w 378443"/>
              <a:gd name="connsiteY10" fmla="*/ 346296 h 385220"/>
              <a:gd name="connsiteX11" fmla="*/ 368326 w 378443"/>
              <a:gd name="connsiteY11" fmla="*/ 346296 h 385220"/>
              <a:gd name="connsiteX12" fmla="*/ 304947 w 378443"/>
              <a:gd name="connsiteY12" fmla="*/ 330532 h 385220"/>
              <a:gd name="connsiteX13" fmla="*/ 300156 w 378443"/>
              <a:gd name="connsiteY13" fmla="*/ 335846 h 385220"/>
              <a:gd name="connsiteX14" fmla="*/ 86056 w 378443"/>
              <a:gd name="connsiteY14" fmla="*/ 331373 h 385220"/>
              <a:gd name="connsiteX15" fmla="*/ 86026 w 378443"/>
              <a:gd name="connsiteY15" fmla="*/ 331329 h 385220"/>
              <a:gd name="connsiteX16" fmla="*/ 3146 w 378443"/>
              <a:gd name="connsiteY16" fmla="*/ 6266 h 385220"/>
              <a:gd name="connsiteX17" fmla="*/ 12857 w 378443"/>
              <a:gd name="connsiteY17" fmla="*/ -2989 h 385220"/>
              <a:gd name="connsiteX18" fmla="*/ 22417 w 378443"/>
              <a:gd name="connsiteY18" fmla="*/ 24199 h 385220"/>
              <a:gd name="connsiteX19" fmla="*/ 101369 w 378443"/>
              <a:gd name="connsiteY19" fmla="*/ 318001 h 385220"/>
              <a:gd name="connsiteX20" fmla="*/ 285300 w 378443"/>
              <a:gd name="connsiteY20" fmla="*/ 321986 h 385220"/>
              <a:gd name="connsiteX21" fmla="*/ 285725 w 378443"/>
              <a:gd name="connsiteY21" fmla="*/ 321543 h 385220"/>
              <a:gd name="connsiteX22" fmla="*/ 253737 w 378443"/>
              <a:gd name="connsiteY22" fmla="*/ 303388 h 385220"/>
              <a:gd name="connsiteX23" fmla="*/ 146676 w 378443"/>
              <a:gd name="connsiteY23" fmla="*/ 301839 h 385220"/>
              <a:gd name="connsiteX24" fmla="*/ 138214 w 378443"/>
              <a:gd name="connsiteY24" fmla="*/ 290237 h 385220"/>
              <a:gd name="connsiteX25" fmla="*/ 138219 w 378443"/>
              <a:gd name="connsiteY25" fmla="*/ 290237 h 385220"/>
              <a:gd name="connsiteX26" fmla="*/ 149820 w 378443"/>
              <a:gd name="connsiteY26" fmla="*/ 281779 h 385220"/>
              <a:gd name="connsiteX27" fmla="*/ 227475 w 378443"/>
              <a:gd name="connsiteY27" fmla="*/ 286119 h 385220"/>
              <a:gd name="connsiteX28" fmla="*/ 220461 w 378443"/>
              <a:gd name="connsiteY28" fmla="*/ 281292 h 385220"/>
              <a:gd name="connsiteX29" fmla="*/ 168754 w 378443"/>
              <a:gd name="connsiteY29" fmla="*/ 240199 h 385220"/>
              <a:gd name="connsiteX30" fmla="*/ 90719 w 378443"/>
              <a:gd name="connsiteY30" fmla="*/ 238606 h 385220"/>
              <a:gd name="connsiteX31" fmla="*/ 85122 w 378443"/>
              <a:gd name="connsiteY31" fmla="*/ 225366 h 385220"/>
              <a:gd name="connsiteX32" fmla="*/ 85122 w 378443"/>
              <a:gd name="connsiteY32" fmla="*/ 225366 h 385220"/>
              <a:gd name="connsiteX33" fmla="*/ 98353 w 378443"/>
              <a:gd name="connsiteY33" fmla="*/ 219787 h 385220"/>
              <a:gd name="connsiteX34" fmla="*/ 98353 w 378443"/>
              <a:gd name="connsiteY34" fmla="*/ 219787 h 385220"/>
              <a:gd name="connsiteX35" fmla="*/ 149891 w 378443"/>
              <a:gd name="connsiteY35" fmla="*/ 223019 h 385220"/>
              <a:gd name="connsiteX36" fmla="*/ 89152 w 378443"/>
              <a:gd name="connsiteY36" fmla="*/ 153941 h 385220"/>
              <a:gd name="connsiteX37" fmla="*/ 91698 w 378443"/>
              <a:gd name="connsiteY37" fmla="*/ 139815 h 385220"/>
              <a:gd name="connsiteX38" fmla="*/ 97622 w 378443"/>
              <a:gd name="connsiteY38" fmla="*/ 138000 h 385220"/>
              <a:gd name="connsiteX39" fmla="*/ 105832 w 378443"/>
              <a:gd name="connsiteY39" fmla="*/ 142340 h 385220"/>
              <a:gd name="connsiteX40" fmla="*/ 154868 w 378443"/>
              <a:gd name="connsiteY40" fmla="*/ 199373 h 385220"/>
              <a:gd name="connsiteX41" fmla="*/ 154235 w 378443"/>
              <a:gd name="connsiteY41" fmla="*/ 116480 h 385220"/>
              <a:gd name="connsiteX42" fmla="*/ 164313 w 378443"/>
              <a:gd name="connsiteY42" fmla="*/ 107535 h 385220"/>
              <a:gd name="connsiteX43" fmla="*/ 165522 w 378443"/>
              <a:gd name="connsiteY43" fmla="*/ 107623 h 385220"/>
              <a:gd name="connsiteX44" fmla="*/ 174409 w 378443"/>
              <a:gd name="connsiteY44" fmla="*/ 118915 h 385220"/>
              <a:gd name="connsiteX45" fmla="*/ 174409 w 378443"/>
              <a:gd name="connsiteY45" fmla="*/ 118915 h 385220"/>
              <a:gd name="connsiteX46" fmla="*/ 179966 w 378443"/>
              <a:gd name="connsiteY46" fmla="*/ 222975 h 385220"/>
              <a:gd name="connsiteX47" fmla="*/ 232266 w 378443"/>
              <a:gd name="connsiteY47" fmla="*/ 264775 h 385220"/>
              <a:gd name="connsiteX48" fmla="*/ 244744 w 378443"/>
              <a:gd name="connsiteY48" fmla="*/ 273278 h 385220"/>
              <a:gd name="connsiteX49" fmla="*/ 236393 w 378443"/>
              <a:gd name="connsiteY49" fmla="*/ 214915 h 385220"/>
              <a:gd name="connsiteX50" fmla="*/ 242689 w 378443"/>
              <a:gd name="connsiteY50" fmla="*/ 143358 h 385220"/>
              <a:gd name="connsiteX51" fmla="*/ 251944 w 378443"/>
              <a:gd name="connsiteY51" fmla="*/ 137291 h 385220"/>
              <a:gd name="connsiteX52" fmla="*/ 256057 w 378443"/>
              <a:gd name="connsiteY52" fmla="*/ 138133 h 385220"/>
              <a:gd name="connsiteX53" fmla="*/ 261318 w 378443"/>
              <a:gd name="connsiteY53" fmla="*/ 151506 h 385220"/>
              <a:gd name="connsiteX54" fmla="*/ 261318 w 378443"/>
              <a:gd name="connsiteY54" fmla="*/ 151506 h 385220"/>
              <a:gd name="connsiteX55" fmla="*/ 256633 w 378443"/>
              <a:gd name="connsiteY55" fmla="*/ 213322 h 385220"/>
              <a:gd name="connsiteX56" fmla="*/ 268288 w 378443"/>
              <a:gd name="connsiteY56" fmla="*/ 288288 h 385220"/>
              <a:gd name="connsiteX57" fmla="*/ 299395 w 378443"/>
              <a:gd name="connsiteY57" fmla="*/ 305160 h 385220"/>
              <a:gd name="connsiteX58" fmla="*/ 330231 w 378443"/>
              <a:gd name="connsiteY58" fmla="*/ 228510 h 385220"/>
              <a:gd name="connsiteX59" fmla="*/ 298252 w 378443"/>
              <a:gd name="connsiteY59" fmla="*/ 135698 h 385220"/>
              <a:gd name="connsiteX60" fmla="*/ 167081 w 378443"/>
              <a:gd name="connsiteY60" fmla="*/ 75034 h 385220"/>
              <a:gd name="connsiteX61" fmla="*/ 22417 w 378443"/>
              <a:gd name="connsiteY61" fmla="*/ 24199 h 3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78443" h="385220">
                <a:moveTo>
                  <a:pt x="12857" y="-2989"/>
                </a:moveTo>
                <a:cubicBezTo>
                  <a:pt x="15088" y="-3078"/>
                  <a:pt x="17289" y="-2458"/>
                  <a:pt x="19113" y="-1130"/>
                </a:cubicBezTo>
                <a:cubicBezTo>
                  <a:pt x="66068" y="31993"/>
                  <a:pt x="119608" y="43019"/>
                  <a:pt x="171721" y="55240"/>
                </a:cubicBezTo>
                <a:cubicBezTo>
                  <a:pt x="223839" y="67462"/>
                  <a:pt x="275009" y="81011"/>
                  <a:pt x="313241" y="121970"/>
                </a:cubicBezTo>
                <a:cubicBezTo>
                  <a:pt x="313321" y="122059"/>
                  <a:pt x="313400" y="122148"/>
                  <a:pt x="313476" y="122192"/>
                </a:cubicBezTo>
                <a:cubicBezTo>
                  <a:pt x="341842" y="154739"/>
                  <a:pt x="353634" y="192731"/>
                  <a:pt x="350463" y="230193"/>
                </a:cubicBezTo>
                <a:cubicBezTo>
                  <a:pt x="348014" y="259151"/>
                  <a:pt x="336798" y="287625"/>
                  <a:pt x="318338" y="313572"/>
                </a:cubicBezTo>
                <a:cubicBezTo>
                  <a:pt x="337423" y="321322"/>
                  <a:pt x="354741" y="325794"/>
                  <a:pt x="368605" y="325971"/>
                </a:cubicBezTo>
                <a:cubicBezTo>
                  <a:pt x="374215" y="326060"/>
                  <a:pt x="378701" y="330665"/>
                  <a:pt x="378621" y="336289"/>
                </a:cubicBezTo>
                <a:cubicBezTo>
                  <a:pt x="378621" y="336289"/>
                  <a:pt x="378621" y="336289"/>
                  <a:pt x="378621" y="336289"/>
                </a:cubicBezTo>
                <a:cubicBezTo>
                  <a:pt x="378546" y="341868"/>
                  <a:pt x="373936" y="346385"/>
                  <a:pt x="368330" y="346296"/>
                </a:cubicBezTo>
                <a:cubicBezTo>
                  <a:pt x="368330" y="346296"/>
                  <a:pt x="368326" y="346296"/>
                  <a:pt x="368326" y="346296"/>
                </a:cubicBezTo>
                <a:cubicBezTo>
                  <a:pt x="349121" y="346031"/>
                  <a:pt x="327579" y="340229"/>
                  <a:pt x="304947" y="330532"/>
                </a:cubicBezTo>
                <a:cubicBezTo>
                  <a:pt x="303384" y="332347"/>
                  <a:pt x="301795" y="334119"/>
                  <a:pt x="300156" y="335846"/>
                </a:cubicBezTo>
                <a:cubicBezTo>
                  <a:pt x="240302" y="400008"/>
                  <a:pt x="143103" y="396732"/>
                  <a:pt x="86056" y="331373"/>
                </a:cubicBezTo>
                <a:cubicBezTo>
                  <a:pt x="86043" y="331373"/>
                  <a:pt x="86034" y="331329"/>
                  <a:pt x="86026" y="331329"/>
                </a:cubicBezTo>
                <a:cubicBezTo>
                  <a:pt x="10342" y="243653"/>
                  <a:pt x="-7928" y="130782"/>
                  <a:pt x="3146" y="6266"/>
                </a:cubicBezTo>
                <a:cubicBezTo>
                  <a:pt x="3598" y="1173"/>
                  <a:pt x="7751" y="-2812"/>
                  <a:pt x="12857" y="-2989"/>
                </a:cubicBezTo>
                <a:close/>
                <a:moveTo>
                  <a:pt x="22417" y="24199"/>
                </a:moveTo>
                <a:cubicBezTo>
                  <a:pt x="14597" y="138841"/>
                  <a:pt x="33478" y="239358"/>
                  <a:pt x="101369" y="318001"/>
                </a:cubicBezTo>
                <a:cubicBezTo>
                  <a:pt x="151255" y="375167"/>
                  <a:pt x="233036" y="378001"/>
                  <a:pt x="285300" y="321986"/>
                </a:cubicBezTo>
                <a:cubicBezTo>
                  <a:pt x="285446" y="321853"/>
                  <a:pt x="285579" y="321676"/>
                  <a:pt x="285725" y="321543"/>
                </a:cubicBezTo>
                <a:cubicBezTo>
                  <a:pt x="275182" y="316185"/>
                  <a:pt x="264484" y="310030"/>
                  <a:pt x="253737" y="303388"/>
                </a:cubicBezTo>
                <a:cubicBezTo>
                  <a:pt x="221439" y="310207"/>
                  <a:pt x="184961" y="307860"/>
                  <a:pt x="146676" y="301839"/>
                </a:cubicBezTo>
                <a:cubicBezTo>
                  <a:pt x="141137" y="300998"/>
                  <a:pt x="137346" y="295772"/>
                  <a:pt x="138214" y="290237"/>
                </a:cubicBezTo>
                <a:cubicBezTo>
                  <a:pt x="138214" y="290237"/>
                  <a:pt x="138219" y="290237"/>
                  <a:pt x="138219" y="290237"/>
                </a:cubicBezTo>
                <a:cubicBezTo>
                  <a:pt x="139087" y="284701"/>
                  <a:pt x="144281" y="280894"/>
                  <a:pt x="149820" y="281779"/>
                </a:cubicBezTo>
                <a:cubicBezTo>
                  <a:pt x="177854" y="286163"/>
                  <a:pt x="204077" y="288023"/>
                  <a:pt x="227475" y="286119"/>
                </a:cubicBezTo>
                <a:cubicBezTo>
                  <a:pt x="225137" y="284480"/>
                  <a:pt x="222794" y="282975"/>
                  <a:pt x="220461" y="281292"/>
                </a:cubicBezTo>
                <a:cubicBezTo>
                  <a:pt x="202686" y="268628"/>
                  <a:pt x="185267" y="254679"/>
                  <a:pt x="168754" y="240199"/>
                </a:cubicBezTo>
                <a:cubicBezTo>
                  <a:pt x="145140" y="246089"/>
                  <a:pt x="119036" y="250119"/>
                  <a:pt x="90719" y="238606"/>
                </a:cubicBezTo>
                <a:cubicBezTo>
                  <a:pt x="85521" y="236525"/>
                  <a:pt x="83014" y="230591"/>
                  <a:pt x="85122" y="225366"/>
                </a:cubicBezTo>
                <a:cubicBezTo>
                  <a:pt x="85122" y="225366"/>
                  <a:pt x="85122" y="225366"/>
                  <a:pt x="85122" y="225366"/>
                </a:cubicBezTo>
                <a:cubicBezTo>
                  <a:pt x="87230" y="220185"/>
                  <a:pt x="93155" y="217661"/>
                  <a:pt x="98353" y="219787"/>
                </a:cubicBezTo>
                <a:cubicBezTo>
                  <a:pt x="98353" y="219787"/>
                  <a:pt x="98353" y="219787"/>
                  <a:pt x="98353" y="219787"/>
                </a:cubicBezTo>
                <a:cubicBezTo>
                  <a:pt x="116296" y="227048"/>
                  <a:pt x="132874" y="226296"/>
                  <a:pt x="149891" y="223019"/>
                </a:cubicBezTo>
                <a:cubicBezTo>
                  <a:pt x="125957" y="200215"/>
                  <a:pt x="104858" y="176569"/>
                  <a:pt x="89152" y="153941"/>
                </a:cubicBezTo>
                <a:cubicBezTo>
                  <a:pt x="85950" y="149336"/>
                  <a:pt x="87093" y="143004"/>
                  <a:pt x="91698" y="139815"/>
                </a:cubicBezTo>
                <a:cubicBezTo>
                  <a:pt x="93434" y="138620"/>
                  <a:pt x="95506" y="137956"/>
                  <a:pt x="97622" y="138000"/>
                </a:cubicBezTo>
                <a:cubicBezTo>
                  <a:pt x="100899" y="138045"/>
                  <a:pt x="103959" y="139683"/>
                  <a:pt x="105832" y="142340"/>
                </a:cubicBezTo>
                <a:cubicBezTo>
                  <a:pt x="118518" y="160627"/>
                  <a:pt x="135522" y="180111"/>
                  <a:pt x="154868" y="199373"/>
                </a:cubicBezTo>
                <a:cubicBezTo>
                  <a:pt x="151193" y="177543"/>
                  <a:pt x="149816" y="153720"/>
                  <a:pt x="154235" y="116480"/>
                </a:cubicBezTo>
                <a:cubicBezTo>
                  <a:pt x="154842" y="111388"/>
                  <a:pt x="159172" y="107535"/>
                  <a:pt x="164313" y="107535"/>
                </a:cubicBezTo>
                <a:cubicBezTo>
                  <a:pt x="164716" y="107535"/>
                  <a:pt x="165119" y="107579"/>
                  <a:pt x="165522" y="107623"/>
                </a:cubicBezTo>
                <a:cubicBezTo>
                  <a:pt x="171092" y="108288"/>
                  <a:pt x="175073" y="113336"/>
                  <a:pt x="174409" y="118915"/>
                </a:cubicBezTo>
                <a:cubicBezTo>
                  <a:pt x="174409" y="118915"/>
                  <a:pt x="174409" y="118915"/>
                  <a:pt x="174409" y="118915"/>
                </a:cubicBezTo>
                <a:cubicBezTo>
                  <a:pt x="168307" y="170281"/>
                  <a:pt x="172740" y="191491"/>
                  <a:pt x="179966" y="222975"/>
                </a:cubicBezTo>
                <a:cubicBezTo>
                  <a:pt x="196602" y="237720"/>
                  <a:pt x="214288" y="251934"/>
                  <a:pt x="232266" y="264775"/>
                </a:cubicBezTo>
                <a:cubicBezTo>
                  <a:pt x="236406" y="267743"/>
                  <a:pt x="240577" y="270488"/>
                  <a:pt x="244744" y="273278"/>
                </a:cubicBezTo>
                <a:cubicBezTo>
                  <a:pt x="241188" y="254723"/>
                  <a:pt x="237969" y="234709"/>
                  <a:pt x="236393" y="214915"/>
                </a:cubicBezTo>
                <a:cubicBezTo>
                  <a:pt x="234218" y="187727"/>
                  <a:pt x="234462" y="162266"/>
                  <a:pt x="242689" y="143358"/>
                </a:cubicBezTo>
                <a:cubicBezTo>
                  <a:pt x="244297" y="139683"/>
                  <a:pt x="247923" y="137291"/>
                  <a:pt x="251944" y="137291"/>
                </a:cubicBezTo>
                <a:cubicBezTo>
                  <a:pt x="253361" y="137247"/>
                  <a:pt x="254760" y="137557"/>
                  <a:pt x="256057" y="138133"/>
                </a:cubicBezTo>
                <a:cubicBezTo>
                  <a:pt x="261203" y="140347"/>
                  <a:pt x="263559" y="146325"/>
                  <a:pt x="261318" y="151506"/>
                </a:cubicBezTo>
                <a:cubicBezTo>
                  <a:pt x="261318" y="151506"/>
                  <a:pt x="261318" y="151506"/>
                  <a:pt x="261318" y="151506"/>
                </a:cubicBezTo>
                <a:cubicBezTo>
                  <a:pt x="255978" y="163772"/>
                  <a:pt x="254574" y="187550"/>
                  <a:pt x="256633" y="213322"/>
                </a:cubicBezTo>
                <a:cubicBezTo>
                  <a:pt x="258652" y="238561"/>
                  <a:pt x="263479" y="265882"/>
                  <a:pt x="268288" y="288288"/>
                </a:cubicBezTo>
                <a:cubicBezTo>
                  <a:pt x="278849" y="294576"/>
                  <a:pt x="289277" y="300244"/>
                  <a:pt x="299395" y="305160"/>
                </a:cubicBezTo>
                <a:cubicBezTo>
                  <a:pt x="317483" y="280894"/>
                  <a:pt x="328026" y="254547"/>
                  <a:pt x="330231" y="228510"/>
                </a:cubicBezTo>
                <a:cubicBezTo>
                  <a:pt x="332950" y="196318"/>
                  <a:pt x="323275" y="164436"/>
                  <a:pt x="298252" y="135698"/>
                </a:cubicBezTo>
                <a:cubicBezTo>
                  <a:pt x="264705" y="99874"/>
                  <a:pt x="218707" y="87122"/>
                  <a:pt x="167081" y="75034"/>
                </a:cubicBezTo>
                <a:cubicBezTo>
                  <a:pt x="120329" y="64052"/>
                  <a:pt x="69553" y="52760"/>
                  <a:pt x="22417" y="24199"/>
                </a:cubicBezTo>
                <a:close/>
              </a:path>
            </a:pathLst>
          </a:custGeom>
          <a:solidFill>
            <a:srgbClr val="71B561"/>
          </a:solidFill>
          <a:ln w="4362" cap="rnd">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Freeform: Shape 40">
            <a:extLst>
              <a:ext uri="{FF2B5EF4-FFF2-40B4-BE49-F238E27FC236}">
                <a16:creationId xmlns:a16="http://schemas.microsoft.com/office/drawing/2014/main" id="{7DEA2AAA-3742-69F9-C97E-D1EE78F14771}"/>
              </a:ext>
            </a:extLst>
          </p:cNvPr>
          <p:cNvSpPr/>
          <p:nvPr/>
        </p:nvSpPr>
        <p:spPr>
          <a:xfrm>
            <a:off x="11202368" y="2686696"/>
            <a:ext cx="378531" cy="307160"/>
          </a:xfrm>
          <a:custGeom>
            <a:avLst/>
            <a:gdLst>
              <a:gd name="connsiteX0" fmla="*/ 313551 w 377331"/>
              <a:gd name="connsiteY0" fmla="*/ 29347 h 306185"/>
              <a:gd name="connsiteX1" fmla="*/ 313551 w 377331"/>
              <a:gd name="connsiteY1" fmla="*/ 9782 h 306185"/>
              <a:gd name="connsiteX2" fmla="*/ 323334 w 377331"/>
              <a:gd name="connsiteY2" fmla="*/ 0 h 306185"/>
              <a:gd name="connsiteX3" fmla="*/ 333116 w 377331"/>
              <a:gd name="connsiteY3" fmla="*/ 9782 h 306185"/>
              <a:gd name="connsiteX4" fmla="*/ 333116 w 377331"/>
              <a:gd name="connsiteY4" fmla="*/ 29347 h 306185"/>
              <a:gd name="connsiteX5" fmla="*/ 323334 w 377331"/>
              <a:gd name="connsiteY5" fmla="*/ 39129 h 306185"/>
              <a:gd name="connsiteX6" fmla="*/ 313551 w 377331"/>
              <a:gd name="connsiteY6" fmla="*/ 29347 h 306185"/>
              <a:gd name="connsiteX7" fmla="*/ 289487 w 377331"/>
              <a:gd name="connsiteY7" fmla="*/ 44607 h 306185"/>
              <a:gd name="connsiteX8" fmla="*/ 303280 w 377331"/>
              <a:gd name="connsiteY8" fmla="*/ 45879 h 306185"/>
              <a:gd name="connsiteX9" fmla="*/ 304552 w 377331"/>
              <a:gd name="connsiteY9" fmla="*/ 32086 h 306185"/>
              <a:gd name="connsiteX10" fmla="*/ 292030 w 377331"/>
              <a:gd name="connsiteY10" fmla="*/ 17021 h 306185"/>
              <a:gd name="connsiteX11" fmla="*/ 278237 w 377331"/>
              <a:gd name="connsiteY11" fmla="*/ 15749 h 306185"/>
              <a:gd name="connsiteX12" fmla="*/ 276966 w 377331"/>
              <a:gd name="connsiteY12" fmla="*/ 29542 h 306185"/>
              <a:gd name="connsiteX13" fmla="*/ 261510 w 377331"/>
              <a:gd name="connsiteY13" fmla="*/ 68476 h 306185"/>
              <a:gd name="connsiteX14" fmla="*/ 281074 w 377331"/>
              <a:gd name="connsiteY14" fmla="*/ 71802 h 306185"/>
              <a:gd name="connsiteX15" fmla="*/ 282835 w 377331"/>
              <a:gd name="connsiteY15" fmla="*/ 71802 h 306185"/>
              <a:gd name="connsiteX16" fmla="*/ 293498 w 377331"/>
              <a:gd name="connsiteY16" fmla="*/ 62900 h 306185"/>
              <a:gd name="connsiteX17" fmla="*/ 284596 w 377331"/>
              <a:gd name="connsiteY17" fmla="*/ 52237 h 306185"/>
              <a:gd name="connsiteX18" fmla="*/ 265031 w 377331"/>
              <a:gd name="connsiteY18" fmla="*/ 48911 h 306185"/>
              <a:gd name="connsiteX19" fmla="*/ 253586 w 377331"/>
              <a:gd name="connsiteY19" fmla="*/ 57031 h 306185"/>
              <a:gd name="connsiteX20" fmla="*/ 261705 w 377331"/>
              <a:gd name="connsiteY20" fmla="*/ 68476 h 306185"/>
              <a:gd name="connsiteX21" fmla="*/ 154687 w 377331"/>
              <a:gd name="connsiteY21" fmla="*/ 114257 h 306185"/>
              <a:gd name="connsiteX22" fmla="*/ 46887 w 377331"/>
              <a:gd name="connsiteY22" fmla="*/ 262556 h 306185"/>
              <a:gd name="connsiteX23" fmla="*/ 33225 w 377331"/>
              <a:gd name="connsiteY23" fmla="*/ 264733 h 306185"/>
              <a:gd name="connsiteX24" fmla="*/ 33191 w 377331"/>
              <a:gd name="connsiteY24" fmla="*/ 264708 h 306185"/>
              <a:gd name="connsiteX25" fmla="*/ 4040 w 377331"/>
              <a:gd name="connsiteY25" fmla="*/ 243774 h 306185"/>
              <a:gd name="connsiteX26" fmla="*/ 1864 w 377331"/>
              <a:gd name="connsiteY26" fmla="*/ 230112 h 306185"/>
              <a:gd name="connsiteX27" fmla="*/ 1888 w 377331"/>
              <a:gd name="connsiteY27" fmla="*/ 230079 h 306185"/>
              <a:gd name="connsiteX28" fmla="*/ 109884 w 377331"/>
              <a:gd name="connsiteY28" fmla="*/ 81584 h 306185"/>
              <a:gd name="connsiteX29" fmla="*/ 35539 w 377331"/>
              <a:gd name="connsiteY29" fmla="*/ 27586 h 306185"/>
              <a:gd name="connsiteX30" fmla="*/ 33563 w 377331"/>
              <a:gd name="connsiteY30" fmla="*/ 13894 h 306185"/>
              <a:gd name="connsiteX31" fmla="*/ 41800 w 377331"/>
              <a:gd name="connsiteY31" fmla="*/ 9978 h 306185"/>
              <a:gd name="connsiteX32" fmla="*/ 64299 w 377331"/>
              <a:gd name="connsiteY32" fmla="*/ 11152 h 306185"/>
              <a:gd name="connsiteX33" fmla="*/ 138644 w 377331"/>
              <a:gd name="connsiteY33" fmla="*/ 37760 h 306185"/>
              <a:gd name="connsiteX34" fmla="*/ 162122 w 377331"/>
              <a:gd name="connsiteY34" fmla="*/ 13695 h 306185"/>
              <a:gd name="connsiteX35" fmla="*/ 174839 w 377331"/>
              <a:gd name="connsiteY35" fmla="*/ 12521 h 306185"/>
              <a:gd name="connsiteX36" fmla="*/ 200077 w 377331"/>
              <a:gd name="connsiteY36" fmla="*/ 30716 h 306185"/>
              <a:gd name="connsiteX37" fmla="*/ 203012 w 377331"/>
              <a:gd name="connsiteY37" fmla="*/ 43238 h 306185"/>
              <a:gd name="connsiteX38" fmla="*/ 187164 w 377331"/>
              <a:gd name="connsiteY38" fmla="*/ 72780 h 306185"/>
              <a:gd name="connsiteX39" fmla="*/ 235293 w 377331"/>
              <a:gd name="connsiteY39" fmla="*/ 135191 h 306185"/>
              <a:gd name="connsiteX40" fmla="*/ 243706 w 377331"/>
              <a:gd name="connsiteY40" fmla="*/ 156908 h 306185"/>
              <a:gd name="connsiteX41" fmla="*/ 238302 w 377331"/>
              <a:gd name="connsiteY41" fmla="*/ 169643 h 306185"/>
              <a:gd name="connsiteX42" fmla="*/ 228837 w 377331"/>
              <a:gd name="connsiteY42" fmla="*/ 168451 h 306185"/>
              <a:gd name="connsiteX43" fmla="*/ 154687 w 377331"/>
              <a:gd name="connsiteY43" fmla="*/ 49498 h 306185"/>
              <a:gd name="connsiteX44" fmla="*/ 170143 w 377331"/>
              <a:gd name="connsiteY44" fmla="*/ 60846 h 306185"/>
              <a:gd name="connsiteX45" fmla="*/ 180708 w 377331"/>
              <a:gd name="connsiteY45" fmla="*/ 41281 h 306185"/>
              <a:gd name="connsiteX46" fmla="*/ 170143 w 377331"/>
              <a:gd name="connsiteY46" fmla="*/ 33651 h 306185"/>
              <a:gd name="connsiteX47" fmla="*/ 211620 w 377331"/>
              <a:gd name="connsiteY47" fmla="*/ 132061 h 306185"/>
              <a:gd name="connsiteX48" fmla="*/ 174056 w 377331"/>
              <a:gd name="connsiteY48" fmla="*/ 87845 h 306185"/>
              <a:gd name="connsiteX49" fmla="*/ 128862 w 377331"/>
              <a:gd name="connsiteY49" fmla="*/ 54194 h 306185"/>
              <a:gd name="connsiteX50" fmla="*/ 75059 w 377331"/>
              <a:gd name="connsiteY50" fmla="*/ 32086 h 306185"/>
              <a:gd name="connsiteX51" fmla="*/ 138057 w 377331"/>
              <a:gd name="connsiteY51" fmla="*/ 102714 h 306185"/>
              <a:gd name="connsiteX52" fmla="*/ 126123 w 377331"/>
              <a:gd name="connsiteY52" fmla="*/ 94105 h 306185"/>
              <a:gd name="connsiteX53" fmla="*/ 124753 w 377331"/>
              <a:gd name="connsiteY53" fmla="*/ 93127 h 306185"/>
              <a:gd name="connsiteX54" fmla="*/ 23605 w 377331"/>
              <a:gd name="connsiteY54" fmla="*/ 233601 h 306185"/>
              <a:gd name="connsiteX55" fmla="*/ 36909 w 377331"/>
              <a:gd name="connsiteY55" fmla="*/ 243187 h 306185"/>
              <a:gd name="connsiteX56" fmla="*/ 377332 w 377331"/>
              <a:gd name="connsiteY56" fmla="*/ 9782 h 306185"/>
              <a:gd name="connsiteX57" fmla="*/ 377332 w 377331"/>
              <a:gd name="connsiteY57" fmla="*/ 296403 h 306185"/>
              <a:gd name="connsiteX58" fmla="*/ 367550 w 377331"/>
              <a:gd name="connsiteY58" fmla="*/ 306185 h 306185"/>
              <a:gd name="connsiteX59" fmla="*/ 94820 w 377331"/>
              <a:gd name="connsiteY59" fmla="*/ 306185 h 306185"/>
              <a:gd name="connsiteX60" fmla="*/ 85037 w 377331"/>
              <a:gd name="connsiteY60" fmla="*/ 296403 h 306185"/>
              <a:gd name="connsiteX61" fmla="*/ 94820 w 377331"/>
              <a:gd name="connsiteY61" fmla="*/ 286621 h 306185"/>
              <a:gd name="connsiteX62" fmla="*/ 153513 w 377331"/>
              <a:gd name="connsiteY62" fmla="*/ 286621 h 306185"/>
              <a:gd name="connsiteX63" fmla="*/ 170339 w 377331"/>
              <a:gd name="connsiteY63" fmla="*/ 257274 h 306185"/>
              <a:gd name="connsiteX64" fmla="*/ 171904 w 377331"/>
              <a:gd name="connsiteY64" fmla="*/ 255122 h 306185"/>
              <a:gd name="connsiteX65" fmla="*/ 204577 w 377331"/>
              <a:gd name="connsiteY65" fmla="*/ 222449 h 306185"/>
              <a:gd name="connsiteX66" fmla="*/ 206338 w 377331"/>
              <a:gd name="connsiteY66" fmla="*/ 221079 h 306185"/>
              <a:gd name="connsiteX67" fmla="*/ 256814 w 377331"/>
              <a:gd name="connsiteY67" fmla="*/ 190559 h 306185"/>
              <a:gd name="connsiteX68" fmla="*/ 268944 w 377331"/>
              <a:gd name="connsiteY68" fmla="*/ 145365 h 306185"/>
              <a:gd name="connsiteX69" fmla="*/ 275401 w 377331"/>
              <a:gd name="connsiteY69" fmla="*/ 138517 h 306185"/>
              <a:gd name="connsiteX70" fmla="*/ 301617 w 377331"/>
              <a:gd name="connsiteY70" fmla="*/ 130300 h 306185"/>
              <a:gd name="connsiteX71" fmla="*/ 318638 w 377331"/>
              <a:gd name="connsiteY71" fmla="*/ 76497 h 306185"/>
              <a:gd name="connsiteX72" fmla="*/ 323529 w 377331"/>
              <a:gd name="connsiteY72" fmla="*/ 70824 h 306185"/>
              <a:gd name="connsiteX73" fmla="*/ 357767 w 377331"/>
              <a:gd name="connsiteY73" fmla="*/ 53998 h 306185"/>
              <a:gd name="connsiteX74" fmla="*/ 357767 w 377331"/>
              <a:gd name="connsiteY74" fmla="*/ 9782 h 306185"/>
              <a:gd name="connsiteX75" fmla="*/ 367550 w 377331"/>
              <a:gd name="connsiteY75" fmla="*/ 0 h 306185"/>
              <a:gd name="connsiteX76" fmla="*/ 377332 w 377331"/>
              <a:gd name="connsiteY76" fmla="*/ 9782 h 306185"/>
              <a:gd name="connsiteX77" fmla="*/ 357767 w 377331"/>
              <a:gd name="connsiteY77" fmla="*/ 75910 h 306185"/>
              <a:gd name="connsiteX78" fmla="*/ 336442 w 377331"/>
              <a:gd name="connsiteY78" fmla="*/ 86671 h 306185"/>
              <a:gd name="connsiteX79" fmla="*/ 318638 w 377331"/>
              <a:gd name="connsiteY79" fmla="*/ 141452 h 306185"/>
              <a:gd name="connsiteX80" fmla="*/ 312378 w 377331"/>
              <a:gd name="connsiteY80" fmla="*/ 147712 h 306185"/>
              <a:gd name="connsiteX81" fmla="*/ 286552 w 377331"/>
              <a:gd name="connsiteY81" fmla="*/ 155929 h 306185"/>
              <a:gd name="connsiteX82" fmla="*/ 274814 w 377331"/>
              <a:gd name="connsiteY82" fmla="*/ 199558 h 306185"/>
              <a:gd name="connsiteX83" fmla="*/ 270509 w 377331"/>
              <a:gd name="connsiteY83" fmla="*/ 205428 h 306185"/>
              <a:gd name="connsiteX84" fmla="*/ 217685 w 377331"/>
              <a:gd name="connsiteY84" fmla="*/ 237514 h 306185"/>
              <a:gd name="connsiteX85" fmla="*/ 186773 w 377331"/>
              <a:gd name="connsiteY85" fmla="*/ 268426 h 306185"/>
              <a:gd name="connsiteX86" fmla="*/ 176208 w 377331"/>
              <a:gd name="connsiteY86" fmla="*/ 286816 h 306185"/>
              <a:gd name="connsiteX87" fmla="*/ 357767 w 377331"/>
              <a:gd name="connsiteY87" fmla="*/ 286816 h 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77331" h="306185">
                <a:moveTo>
                  <a:pt x="313551" y="29347"/>
                </a:moveTo>
                <a:lnTo>
                  <a:pt x="313551" y="9782"/>
                </a:lnTo>
                <a:cubicBezTo>
                  <a:pt x="313551" y="4380"/>
                  <a:pt x="317931" y="0"/>
                  <a:pt x="323334" y="0"/>
                </a:cubicBezTo>
                <a:cubicBezTo>
                  <a:pt x="328736" y="0"/>
                  <a:pt x="333116" y="4380"/>
                  <a:pt x="333116" y="9782"/>
                </a:cubicBezTo>
                <a:lnTo>
                  <a:pt x="333116" y="29347"/>
                </a:lnTo>
                <a:cubicBezTo>
                  <a:pt x="333116" y="34749"/>
                  <a:pt x="328736" y="39129"/>
                  <a:pt x="323334" y="39129"/>
                </a:cubicBezTo>
                <a:cubicBezTo>
                  <a:pt x="317931" y="39129"/>
                  <a:pt x="313551" y="34749"/>
                  <a:pt x="313551" y="29347"/>
                </a:cubicBezTo>
                <a:close/>
                <a:moveTo>
                  <a:pt x="289487" y="44607"/>
                </a:moveTo>
                <a:cubicBezTo>
                  <a:pt x="292945" y="48767"/>
                  <a:pt x="299120" y="49337"/>
                  <a:pt x="303280" y="45879"/>
                </a:cubicBezTo>
                <a:cubicBezTo>
                  <a:pt x="307440" y="42421"/>
                  <a:pt x="308009" y="36246"/>
                  <a:pt x="304552" y="32086"/>
                </a:cubicBezTo>
                <a:lnTo>
                  <a:pt x="292030" y="17021"/>
                </a:lnTo>
                <a:cubicBezTo>
                  <a:pt x="288573" y="12861"/>
                  <a:pt x="282397" y="12292"/>
                  <a:pt x="278237" y="15749"/>
                </a:cubicBezTo>
                <a:cubicBezTo>
                  <a:pt x="274077" y="19207"/>
                  <a:pt x="273508" y="25382"/>
                  <a:pt x="276966" y="29542"/>
                </a:cubicBezTo>
                <a:close/>
                <a:moveTo>
                  <a:pt x="261510" y="68476"/>
                </a:moveTo>
                <a:lnTo>
                  <a:pt x="281074" y="71802"/>
                </a:lnTo>
                <a:lnTo>
                  <a:pt x="282835" y="71802"/>
                </a:lnTo>
                <a:cubicBezTo>
                  <a:pt x="288238" y="72288"/>
                  <a:pt x="293012" y="68303"/>
                  <a:pt x="293498" y="62900"/>
                </a:cubicBezTo>
                <a:cubicBezTo>
                  <a:pt x="293984" y="57497"/>
                  <a:pt x="289999" y="52724"/>
                  <a:pt x="284596" y="52237"/>
                </a:cubicBezTo>
                <a:lnTo>
                  <a:pt x="265031" y="48911"/>
                </a:lnTo>
                <a:cubicBezTo>
                  <a:pt x="259629" y="47993"/>
                  <a:pt x="254505" y="51628"/>
                  <a:pt x="253586" y="57031"/>
                </a:cubicBezTo>
                <a:cubicBezTo>
                  <a:pt x="252668" y="62433"/>
                  <a:pt x="256303" y="67557"/>
                  <a:pt x="261705" y="68476"/>
                </a:cubicBezTo>
                <a:close/>
                <a:moveTo>
                  <a:pt x="154687" y="114257"/>
                </a:moveTo>
                <a:lnTo>
                  <a:pt x="46887" y="262556"/>
                </a:lnTo>
                <a:cubicBezTo>
                  <a:pt x="43715" y="266930"/>
                  <a:pt x="37598" y="267904"/>
                  <a:pt x="33225" y="264733"/>
                </a:cubicBezTo>
                <a:cubicBezTo>
                  <a:pt x="33213" y="264725"/>
                  <a:pt x="33202" y="264716"/>
                  <a:pt x="33191" y="264708"/>
                </a:cubicBezTo>
                <a:lnTo>
                  <a:pt x="4040" y="243774"/>
                </a:lnTo>
                <a:cubicBezTo>
                  <a:pt x="-333" y="240603"/>
                  <a:pt x="-1308" y="234486"/>
                  <a:pt x="1864" y="230112"/>
                </a:cubicBezTo>
                <a:cubicBezTo>
                  <a:pt x="1872" y="230101"/>
                  <a:pt x="1880" y="230090"/>
                  <a:pt x="1888" y="230079"/>
                </a:cubicBezTo>
                <a:lnTo>
                  <a:pt x="109884" y="81584"/>
                </a:lnTo>
                <a:lnTo>
                  <a:pt x="35539" y="27586"/>
                </a:lnTo>
                <a:cubicBezTo>
                  <a:pt x="31212" y="24351"/>
                  <a:pt x="30328" y="18220"/>
                  <a:pt x="33563" y="13894"/>
                </a:cubicBezTo>
                <a:cubicBezTo>
                  <a:pt x="35495" y="11310"/>
                  <a:pt x="38577" y="9845"/>
                  <a:pt x="41800" y="9978"/>
                </a:cubicBezTo>
                <a:lnTo>
                  <a:pt x="64299" y="11152"/>
                </a:lnTo>
                <a:cubicBezTo>
                  <a:pt x="91087" y="12868"/>
                  <a:pt x="116851" y="22089"/>
                  <a:pt x="138644" y="37760"/>
                </a:cubicBezTo>
                <a:lnTo>
                  <a:pt x="162122" y="13695"/>
                </a:lnTo>
                <a:cubicBezTo>
                  <a:pt x="165485" y="10209"/>
                  <a:pt x="170894" y="9710"/>
                  <a:pt x="174839" y="12521"/>
                </a:cubicBezTo>
                <a:lnTo>
                  <a:pt x="200077" y="30716"/>
                </a:lnTo>
                <a:cubicBezTo>
                  <a:pt x="204047" y="33570"/>
                  <a:pt x="205300" y="38917"/>
                  <a:pt x="203012" y="43238"/>
                </a:cubicBezTo>
                <a:lnTo>
                  <a:pt x="187164" y="72780"/>
                </a:lnTo>
                <a:cubicBezTo>
                  <a:pt x="208751" y="88650"/>
                  <a:pt x="225431" y="110280"/>
                  <a:pt x="235293" y="135191"/>
                </a:cubicBezTo>
                <a:lnTo>
                  <a:pt x="243706" y="156908"/>
                </a:lnTo>
                <a:cubicBezTo>
                  <a:pt x="245730" y="161917"/>
                  <a:pt x="243311" y="167618"/>
                  <a:pt x="238302" y="169643"/>
                </a:cubicBezTo>
                <a:cubicBezTo>
                  <a:pt x="235154" y="170915"/>
                  <a:pt x="231571" y="170464"/>
                  <a:pt x="228837" y="168451"/>
                </a:cubicBezTo>
                <a:close/>
                <a:moveTo>
                  <a:pt x="154687" y="49498"/>
                </a:moveTo>
                <a:lnTo>
                  <a:pt x="170143" y="60846"/>
                </a:lnTo>
                <a:lnTo>
                  <a:pt x="180708" y="41281"/>
                </a:lnTo>
                <a:lnTo>
                  <a:pt x="170143" y="33651"/>
                </a:lnTo>
                <a:close/>
                <a:moveTo>
                  <a:pt x="211620" y="132061"/>
                </a:moveTo>
                <a:cubicBezTo>
                  <a:pt x="202802" y="114539"/>
                  <a:pt x="189922" y="99379"/>
                  <a:pt x="174056" y="87845"/>
                </a:cubicBezTo>
                <a:lnTo>
                  <a:pt x="128862" y="54194"/>
                </a:lnTo>
                <a:cubicBezTo>
                  <a:pt x="112945" y="42644"/>
                  <a:pt x="94499" y="35065"/>
                  <a:pt x="75059" y="32086"/>
                </a:cubicBezTo>
                <a:close/>
                <a:moveTo>
                  <a:pt x="138057" y="102714"/>
                </a:moveTo>
                <a:lnTo>
                  <a:pt x="126123" y="94105"/>
                </a:lnTo>
                <a:lnTo>
                  <a:pt x="124753" y="93127"/>
                </a:lnTo>
                <a:lnTo>
                  <a:pt x="23605" y="233601"/>
                </a:lnTo>
                <a:lnTo>
                  <a:pt x="36909" y="243187"/>
                </a:lnTo>
                <a:close/>
                <a:moveTo>
                  <a:pt x="377332" y="9782"/>
                </a:moveTo>
                <a:lnTo>
                  <a:pt x="377332" y="296403"/>
                </a:lnTo>
                <a:cubicBezTo>
                  <a:pt x="377332" y="301806"/>
                  <a:pt x="372952" y="306185"/>
                  <a:pt x="367550" y="306185"/>
                </a:cubicBezTo>
                <a:lnTo>
                  <a:pt x="94820" y="306185"/>
                </a:lnTo>
                <a:cubicBezTo>
                  <a:pt x="89417" y="306185"/>
                  <a:pt x="85037" y="301806"/>
                  <a:pt x="85037" y="296403"/>
                </a:cubicBezTo>
                <a:cubicBezTo>
                  <a:pt x="85037" y="291000"/>
                  <a:pt x="89417" y="286621"/>
                  <a:pt x="94820" y="286621"/>
                </a:cubicBezTo>
                <a:lnTo>
                  <a:pt x="153513" y="286621"/>
                </a:lnTo>
                <a:lnTo>
                  <a:pt x="170339" y="257274"/>
                </a:lnTo>
                <a:lnTo>
                  <a:pt x="171904" y="255122"/>
                </a:lnTo>
                <a:lnTo>
                  <a:pt x="204577" y="222449"/>
                </a:lnTo>
                <a:lnTo>
                  <a:pt x="206338" y="221079"/>
                </a:lnTo>
                <a:lnTo>
                  <a:pt x="256814" y="190559"/>
                </a:lnTo>
                <a:lnTo>
                  <a:pt x="268944" y="145365"/>
                </a:lnTo>
                <a:cubicBezTo>
                  <a:pt x="269785" y="142129"/>
                  <a:pt x="272220" y="139546"/>
                  <a:pt x="275401" y="138517"/>
                </a:cubicBezTo>
                <a:lnTo>
                  <a:pt x="301617" y="130300"/>
                </a:lnTo>
                <a:lnTo>
                  <a:pt x="318638" y="76497"/>
                </a:lnTo>
                <a:cubicBezTo>
                  <a:pt x="319451" y="74032"/>
                  <a:pt x="321211" y="71991"/>
                  <a:pt x="323529" y="70824"/>
                </a:cubicBezTo>
                <a:lnTo>
                  <a:pt x="357767" y="53998"/>
                </a:lnTo>
                <a:lnTo>
                  <a:pt x="357767" y="9782"/>
                </a:lnTo>
                <a:cubicBezTo>
                  <a:pt x="357767" y="4380"/>
                  <a:pt x="362147" y="0"/>
                  <a:pt x="367550" y="0"/>
                </a:cubicBezTo>
                <a:cubicBezTo>
                  <a:pt x="372952" y="0"/>
                  <a:pt x="377332" y="4380"/>
                  <a:pt x="377332" y="9782"/>
                </a:cubicBezTo>
                <a:close/>
                <a:moveTo>
                  <a:pt x="357767" y="75910"/>
                </a:moveTo>
                <a:lnTo>
                  <a:pt x="336442" y="86671"/>
                </a:lnTo>
                <a:lnTo>
                  <a:pt x="318638" y="141452"/>
                </a:lnTo>
                <a:cubicBezTo>
                  <a:pt x="317669" y="144418"/>
                  <a:pt x="315344" y="146743"/>
                  <a:pt x="312378" y="147712"/>
                </a:cubicBezTo>
                <a:lnTo>
                  <a:pt x="286552" y="155929"/>
                </a:lnTo>
                <a:lnTo>
                  <a:pt x="274814" y="199558"/>
                </a:lnTo>
                <a:cubicBezTo>
                  <a:pt x="274187" y="201996"/>
                  <a:pt x="272646" y="204098"/>
                  <a:pt x="270509" y="205428"/>
                </a:cubicBezTo>
                <a:lnTo>
                  <a:pt x="217685" y="237514"/>
                </a:lnTo>
                <a:lnTo>
                  <a:pt x="186773" y="268426"/>
                </a:lnTo>
                <a:lnTo>
                  <a:pt x="176208" y="286816"/>
                </a:lnTo>
                <a:lnTo>
                  <a:pt x="357767" y="286816"/>
                </a:lnTo>
                <a:close/>
              </a:path>
            </a:pathLst>
          </a:custGeom>
          <a:solidFill>
            <a:srgbClr val="002060"/>
          </a:solidFill>
          <a:ln w="3175" cap="flat">
            <a:solidFill>
              <a:srgbClr val="FFFFFF"/>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42" name="Graphic 112">
            <a:extLst>
              <a:ext uri="{FF2B5EF4-FFF2-40B4-BE49-F238E27FC236}">
                <a16:creationId xmlns:a16="http://schemas.microsoft.com/office/drawing/2014/main" id="{BDD82106-CC4C-9B70-D938-F2259A59827D}"/>
              </a:ext>
            </a:extLst>
          </p:cNvPr>
          <p:cNvGrpSpPr/>
          <p:nvPr/>
        </p:nvGrpSpPr>
        <p:grpSpPr>
          <a:xfrm>
            <a:off x="9988125" y="3500770"/>
            <a:ext cx="430229" cy="368768"/>
            <a:chOff x="8528358" y="3892326"/>
            <a:chExt cx="446894" cy="383053"/>
          </a:xfrm>
          <a:solidFill>
            <a:schemeClr val="tx2"/>
          </a:solidFill>
        </p:grpSpPr>
        <p:sp>
          <p:nvSpPr>
            <p:cNvPr id="43" name="Freeform: Shape 42">
              <a:extLst>
                <a:ext uri="{FF2B5EF4-FFF2-40B4-BE49-F238E27FC236}">
                  <a16:creationId xmlns:a16="http://schemas.microsoft.com/office/drawing/2014/main" id="{2054770E-A389-21B9-FE65-0D79221D4B44}"/>
                </a:ext>
              </a:extLst>
            </p:cNvPr>
            <p:cNvSpPr/>
            <p:nvPr/>
          </p:nvSpPr>
          <p:spPr>
            <a:xfrm>
              <a:off x="8528358" y="4115774"/>
              <a:ext cx="446894" cy="159605"/>
            </a:xfrm>
            <a:custGeom>
              <a:avLst/>
              <a:gdLst>
                <a:gd name="connsiteX0" fmla="*/ 350562 w 446894"/>
                <a:gd name="connsiteY0" fmla="*/ -260 h 159605"/>
                <a:gd name="connsiteX1" fmla="*/ 286720 w 446894"/>
                <a:gd name="connsiteY1" fmla="*/ -260 h 159605"/>
                <a:gd name="connsiteX2" fmla="*/ 286720 w 446894"/>
                <a:gd name="connsiteY2" fmla="*/ 15701 h 159605"/>
                <a:gd name="connsiteX3" fmla="*/ 341528 w 446894"/>
                <a:gd name="connsiteY3" fmla="*/ 15701 h 159605"/>
                <a:gd name="connsiteX4" fmla="*/ 418139 w 446894"/>
                <a:gd name="connsiteY4" fmla="*/ 143385 h 159605"/>
                <a:gd name="connsiteX5" fmla="*/ 27616 w 446894"/>
                <a:gd name="connsiteY5" fmla="*/ 143385 h 159605"/>
                <a:gd name="connsiteX6" fmla="*/ 104227 w 446894"/>
                <a:gd name="connsiteY6" fmla="*/ 15701 h 159605"/>
                <a:gd name="connsiteX7" fmla="*/ 238838 w 446894"/>
                <a:gd name="connsiteY7" fmla="*/ 15701 h 159605"/>
                <a:gd name="connsiteX8" fmla="*/ 238838 w 446894"/>
                <a:gd name="connsiteY8" fmla="*/ -260 h 159605"/>
                <a:gd name="connsiteX9" fmla="*/ 95193 w 446894"/>
                <a:gd name="connsiteY9" fmla="*/ -260 h 159605"/>
                <a:gd name="connsiteX10" fmla="*/ -570 w 446894"/>
                <a:gd name="connsiteY10" fmla="*/ 159346 h 159605"/>
                <a:gd name="connsiteX11" fmla="*/ 446325 w 446894"/>
                <a:gd name="connsiteY11" fmla="*/ 159346 h 15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6894" h="159605">
                  <a:moveTo>
                    <a:pt x="350562" y="-260"/>
                  </a:moveTo>
                  <a:lnTo>
                    <a:pt x="286720" y="-260"/>
                  </a:lnTo>
                  <a:lnTo>
                    <a:pt x="286720" y="15701"/>
                  </a:lnTo>
                  <a:lnTo>
                    <a:pt x="341528" y="15701"/>
                  </a:lnTo>
                  <a:lnTo>
                    <a:pt x="418139" y="143385"/>
                  </a:lnTo>
                  <a:lnTo>
                    <a:pt x="27616" y="143385"/>
                  </a:lnTo>
                  <a:lnTo>
                    <a:pt x="104227" y="15701"/>
                  </a:lnTo>
                  <a:lnTo>
                    <a:pt x="238838" y="15701"/>
                  </a:lnTo>
                  <a:lnTo>
                    <a:pt x="238838" y="-260"/>
                  </a:lnTo>
                  <a:lnTo>
                    <a:pt x="95193" y="-260"/>
                  </a:lnTo>
                  <a:lnTo>
                    <a:pt x="-570" y="159346"/>
                  </a:lnTo>
                  <a:lnTo>
                    <a:pt x="446325" y="159346"/>
                  </a:lnTo>
                  <a:close/>
                </a:path>
              </a:pathLst>
            </a:custGeom>
            <a:grpFill/>
            <a:ln w="1587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Freeform: Shape 43">
              <a:extLst>
                <a:ext uri="{FF2B5EF4-FFF2-40B4-BE49-F238E27FC236}">
                  <a16:creationId xmlns:a16="http://schemas.microsoft.com/office/drawing/2014/main" id="{EF6B5AD2-C28E-FD48-638C-03D22309AC17}"/>
                </a:ext>
              </a:extLst>
            </p:cNvPr>
            <p:cNvSpPr/>
            <p:nvPr/>
          </p:nvSpPr>
          <p:spPr>
            <a:xfrm>
              <a:off x="8687963" y="3892326"/>
              <a:ext cx="207486" cy="303250"/>
            </a:xfrm>
            <a:custGeom>
              <a:avLst/>
              <a:gdLst>
                <a:gd name="connsiteX0" fmla="*/ 111154 w 207486"/>
                <a:gd name="connsiteY0" fmla="*/ 302991 h 303250"/>
                <a:gd name="connsiteX1" fmla="*/ 111154 w 207486"/>
                <a:gd name="connsiteY1" fmla="*/ 174141 h 303250"/>
                <a:gd name="connsiteX2" fmla="*/ 151055 w 207486"/>
                <a:gd name="connsiteY2" fmla="*/ 191267 h 303250"/>
                <a:gd name="connsiteX3" fmla="*/ 206917 w 207486"/>
                <a:gd name="connsiteY3" fmla="*/ 135405 h 303250"/>
                <a:gd name="connsiteX4" fmla="*/ 153338 w 207486"/>
                <a:gd name="connsiteY4" fmla="*/ 79782 h 303250"/>
                <a:gd name="connsiteX5" fmla="*/ 159035 w 207486"/>
                <a:gd name="connsiteY5" fmla="*/ 55602 h 303250"/>
                <a:gd name="connsiteX6" fmla="*/ 103173 w 207486"/>
                <a:gd name="connsiteY6" fmla="*/ -260 h 303250"/>
                <a:gd name="connsiteX7" fmla="*/ 47312 w 207486"/>
                <a:gd name="connsiteY7" fmla="*/ 55602 h 303250"/>
                <a:gd name="connsiteX8" fmla="*/ 53009 w 207486"/>
                <a:gd name="connsiteY8" fmla="*/ 79782 h 303250"/>
                <a:gd name="connsiteX9" fmla="*/ -570 w 207486"/>
                <a:gd name="connsiteY9" fmla="*/ 135405 h 303250"/>
                <a:gd name="connsiteX10" fmla="*/ 55292 w 207486"/>
                <a:gd name="connsiteY10" fmla="*/ 191267 h 303250"/>
                <a:gd name="connsiteX11" fmla="*/ 95193 w 207486"/>
                <a:gd name="connsiteY11" fmla="*/ 174141 h 303250"/>
                <a:gd name="connsiteX12" fmla="*/ 95193 w 207486"/>
                <a:gd name="connsiteY12" fmla="*/ 302991 h 303250"/>
                <a:gd name="connsiteX13" fmla="*/ 111154 w 207486"/>
                <a:gd name="connsiteY13" fmla="*/ 302991 h 303250"/>
                <a:gd name="connsiteX14" fmla="*/ 89463 w 207486"/>
                <a:gd name="connsiteY14" fmla="*/ 155611 h 303250"/>
                <a:gd name="connsiteX15" fmla="*/ 55292 w 207486"/>
                <a:gd name="connsiteY15" fmla="*/ 175306 h 303250"/>
                <a:gd name="connsiteX16" fmla="*/ 15391 w 207486"/>
                <a:gd name="connsiteY16" fmla="*/ 135405 h 303250"/>
                <a:gd name="connsiteX17" fmla="*/ 53664 w 207486"/>
                <a:gd name="connsiteY17" fmla="*/ 95727 h 303250"/>
                <a:gd name="connsiteX18" fmla="*/ 77940 w 207486"/>
                <a:gd name="connsiteY18" fmla="*/ 94737 h 303250"/>
                <a:gd name="connsiteX19" fmla="*/ 67390 w 207486"/>
                <a:gd name="connsiteY19" fmla="*/ 72839 h 303250"/>
                <a:gd name="connsiteX20" fmla="*/ 63272 w 207486"/>
                <a:gd name="connsiteY20" fmla="*/ 55602 h 303250"/>
                <a:gd name="connsiteX21" fmla="*/ 103173 w 207486"/>
                <a:gd name="connsiteY21" fmla="*/ 15701 h 303250"/>
                <a:gd name="connsiteX22" fmla="*/ 143075 w 207486"/>
                <a:gd name="connsiteY22" fmla="*/ 55602 h 303250"/>
                <a:gd name="connsiteX23" fmla="*/ 138957 w 207486"/>
                <a:gd name="connsiteY23" fmla="*/ 72839 h 303250"/>
                <a:gd name="connsiteX24" fmla="*/ 128407 w 207486"/>
                <a:gd name="connsiteY24" fmla="*/ 94737 h 303250"/>
                <a:gd name="connsiteX25" fmla="*/ 152683 w 207486"/>
                <a:gd name="connsiteY25" fmla="*/ 95727 h 303250"/>
                <a:gd name="connsiteX26" fmla="*/ 190956 w 207486"/>
                <a:gd name="connsiteY26" fmla="*/ 135405 h 303250"/>
                <a:gd name="connsiteX27" fmla="*/ 151055 w 207486"/>
                <a:gd name="connsiteY27" fmla="*/ 175306 h 303250"/>
                <a:gd name="connsiteX28" fmla="*/ 116884 w 207486"/>
                <a:gd name="connsiteY28" fmla="*/ 155611 h 303250"/>
                <a:gd name="connsiteX29" fmla="*/ 103173 w 207486"/>
                <a:gd name="connsiteY29" fmla="*/ 132516 h 303250"/>
                <a:gd name="connsiteX30" fmla="*/ 89463 w 207486"/>
                <a:gd name="connsiteY30" fmla="*/ 155611 h 3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7486" h="303250">
                  <a:moveTo>
                    <a:pt x="111154" y="302991"/>
                  </a:moveTo>
                  <a:lnTo>
                    <a:pt x="111154" y="174141"/>
                  </a:lnTo>
                  <a:cubicBezTo>
                    <a:pt x="121257" y="184643"/>
                    <a:pt x="135318" y="191267"/>
                    <a:pt x="151055" y="191267"/>
                  </a:cubicBezTo>
                  <a:cubicBezTo>
                    <a:pt x="181907" y="191267"/>
                    <a:pt x="206917" y="166257"/>
                    <a:pt x="206917" y="135405"/>
                  </a:cubicBezTo>
                  <a:cubicBezTo>
                    <a:pt x="206917" y="105335"/>
                    <a:pt x="183104" y="80995"/>
                    <a:pt x="153338" y="79782"/>
                  </a:cubicBezTo>
                  <a:cubicBezTo>
                    <a:pt x="156881" y="72440"/>
                    <a:pt x="159035" y="64301"/>
                    <a:pt x="159035" y="55602"/>
                  </a:cubicBezTo>
                  <a:cubicBezTo>
                    <a:pt x="159035" y="24750"/>
                    <a:pt x="134025" y="-260"/>
                    <a:pt x="103173" y="-260"/>
                  </a:cubicBezTo>
                  <a:cubicBezTo>
                    <a:pt x="72322" y="-260"/>
                    <a:pt x="47312" y="24750"/>
                    <a:pt x="47312" y="55602"/>
                  </a:cubicBezTo>
                  <a:cubicBezTo>
                    <a:pt x="47312" y="64301"/>
                    <a:pt x="49482" y="72440"/>
                    <a:pt x="53009" y="79782"/>
                  </a:cubicBezTo>
                  <a:cubicBezTo>
                    <a:pt x="23243" y="80995"/>
                    <a:pt x="-570" y="105351"/>
                    <a:pt x="-570" y="135405"/>
                  </a:cubicBezTo>
                  <a:cubicBezTo>
                    <a:pt x="-570" y="166257"/>
                    <a:pt x="24440" y="191267"/>
                    <a:pt x="55292" y="191267"/>
                  </a:cubicBezTo>
                  <a:cubicBezTo>
                    <a:pt x="71029" y="191267"/>
                    <a:pt x="85090" y="184643"/>
                    <a:pt x="95193" y="174141"/>
                  </a:cubicBezTo>
                  <a:lnTo>
                    <a:pt x="95193" y="302991"/>
                  </a:lnTo>
                  <a:lnTo>
                    <a:pt x="111154" y="302991"/>
                  </a:lnTo>
                  <a:close/>
                  <a:moveTo>
                    <a:pt x="89463" y="155611"/>
                  </a:moveTo>
                  <a:cubicBezTo>
                    <a:pt x="82122" y="167932"/>
                    <a:pt x="69353" y="175306"/>
                    <a:pt x="55292" y="175306"/>
                  </a:cubicBezTo>
                  <a:cubicBezTo>
                    <a:pt x="33282" y="175306"/>
                    <a:pt x="15391" y="157414"/>
                    <a:pt x="15391" y="135405"/>
                  </a:cubicBezTo>
                  <a:cubicBezTo>
                    <a:pt x="15391" y="114034"/>
                    <a:pt x="32213" y="96589"/>
                    <a:pt x="53664" y="95727"/>
                  </a:cubicBezTo>
                  <a:lnTo>
                    <a:pt x="77940" y="94737"/>
                  </a:lnTo>
                  <a:lnTo>
                    <a:pt x="67390" y="72839"/>
                  </a:lnTo>
                  <a:cubicBezTo>
                    <a:pt x="64660" y="67173"/>
                    <a:pt x="63272" y="61364"/>
                    <a:pt x="63272" y="55602"/>
                  </a:cubicBezTo>
                  <a:cubicBezTo>
                    <a:pt x="63272" y="33592"/>
                    <a:pt x="81163" y="15701"/>
                    <a:pt x="103173" y="15701"/>
                  </a:cubicBezTo>
                  <a:cubicBezTo>
                    <a:pt x="125183" y="15701"/>
                    <a:pt x="143075" y="33592"/>
                    <a:pt x="143075" y="55602"/>
                  </a:cubicBezTo>
                  <a:cubicBezTo>
                    <a:pt x="143075" y="61364"/>
                    <a:pt x="141687" y="67173"/>
                    <a:pt x="138957" y="72839"/>
                  </a:cubicBezTo>
                  <a:lnTo>
                    <a:pt x="128407" y="94737"/>
                  </a:lnTo>
                  <a:lnTo>
                    <a:pt x="152683" y="95727"/>
                  </a:lnTo>
                  <a:cubicBezTo>
                    <a:pt x="174150" y="96605"/>
                    <a:pt x="190956" y="114034"/>
                    <a:pt x="190956" y="135405"/>
                  </a:cubicBezTo>
                  <a:cubicBezTo>
                    <a:pt x="190956" y="157414"/>
                    <a:pt x="173065" y="175306"/>
                    <a:pt x="151055" y="175306"/>
                  </a:cubicBezTo>
                  <a:cubicBezTo>
                    <a:pt x="136994" y="175306"/>
                    <a:pt x="124225" y="167932"/>
                    <a:pt x="116884" y="155611"/>
                  </a:cubicBezTo>
                  <a:lnTo>
                    <a:pt x="103173" y="132516"/>
                  </a:lnTo>
                  <a:lnTo>
                    <a:pt x="89463" y="155611"/>
                  </a:lnTo>
                  <a:close/>
                </a:path>
              </a:pathLst>
            </a:custGeom>
            <a:grpFill/>
            <a:ln w="1587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5" name="Graphic 113">
            <a:extLst>
              <a:ext uri="{FF2B5EF4-FFF2-40B4-BE49-F238E27FC236}">
                <a16:creationId xmlns:a16="http://schemas.microsoft.com/office/drawing/2014/main" id="{D3F3A202-C741-DA4E-44C3-09993B81C1E7}"/>
              </a:ext>
            </a:extLst>
          </p:cNvPr>
          <p:cNvGrpSpPr>
            <a:grpSpLocks/>
          </p:cNvGrpSpPr>
          <p:nvPr/>
        </p:nvGrpSpPr>
        <p:grpSpPr>
          <a:xfrm>
            <a:off x="11124741" y="3457977"/>
            <a:ext cx="456158" cy="456157"/>
            <a:chOff x="9397541" y="3849642"/>
            <a:chExt cx="473828" cy="473827"/>
          </a:xfrm>
          <a:solidFill>
            <a:schemeClr val="tx2"/>
          </a:solidFill>
        </p:grpSpPr>
        <p:sp>
          <p:nvSpPr>
            <p:cNvPr id="46" name="Freeform: Shape 45">
              <a:extLst>
                <a:ext uri="{FF2B5EF4-FFF2-40B4-BE49-F238E27FC236}">
                  <a16:creationId xmlns:a16="http://schemas.microsoft.com/office/drawing/2014/main" id="{CFA94BAF-1E95-779B-55A8-1D73345B9A56}"/>
                </a:ext>
              </a:extLst>
            </p:cNvPr>
            <p:cNvSpPr/>
            <p:nvPr/>
          </p:nvSpPr>
          <p:spPr>
            <a:xfrm>
              <a:off x="9611528" y="4064064"/>
              <a:ext cx="61139" cy="91273"/>
            </a:xfrm>
            <a:custGeom>
              <a:avLst/>
              <a:gdLst>
                <a:gd name="connsiteX0" fmla="*/ 61139 w 61139"/>
                <a:gd name="connsiteY0" fmla="*/ 60703 h 91273"/>
                <a:gd name="connsiteX1" fmla="*/ 61139 w 61139"/>
                <a:gd name="connsiteY1" fmla="*/ 59412 h 91273"/>
                <a:gd name="connsiteX2" fmla="*/ 56783 w 61139"/>
                <a:gd name="connsiteY2" fmla="*/ 43676 h 91273"/>
                <a:gd name="connsiteX3" fmla="*/ 30570 w 61139"/>
                <a:gd name="connsiteY3" fmla="*/ 0 h 91273"/>
                <a:gd name="connsiteX4" fmla="*/ 4356 w 61139"/>
                <a:gd name="connsiteY4" fmla="*/ 43684 h 91273"/>
                <a:gd name="connsiteX5" fmla="*/ 0 w 61139"/>
                <a:gd name="connsiteY5" fmla="*/ 59412 h 91273"/>
                <a:gd name="connsiteX6" fmla="*/ 0 w 61139"/>
                <a:gd name="connsiteY6" fmla="*/ 60703 h 91273"/>
                <a:gd name="connsiteX7" fmla="*/ 30570 w 61139"/>
                <a:gd name="connsiteY7" fmla="*/ 91273 h 91273"/>
                <a:gd name="connsiteX8" fmla="*/ 61139 w 61139"/>
                <a:gd name="connsiteY8" fmla="*/ 60703 h 91273"/>
                <a:gd name="connsiteX9" fmla="*/ 15285 w 61139"/>
                <a:gd name="connsiteY9" fmla="*/ 60703 h 91273"/>
                <a:gd name="connsiteX10" fmla="*/ 15285 w 61139"/>
                <a:gd name="connsiteY10" fmla="*/ 59412 h 91273"/>
                <a:gd name="connsiteX11" fmla="*/ 17463 w 61139"/>
                <a:gd name="connsiteY11" fmla="*/ 51548 h 91273"/>
                <a:gd name="connsiteX12" fmla="*/ 30570 w 61139"/>
                <a:gd name="connsiteY12" fmla="*/ 29698 h 91273"/>
                <a:gd name="connsiteX13" fmla="*/ 43676 w 61139"/>
                <a:gd name="connsiteY13" fmla="*/ 51540 h 91273"/>
                <a:gd name="connsiteX14" fmla="*/ 45854 w 61139"/>
                <a:gd name="connsiteY14" fmla="*/ 59412 h 91273"/>
                <a:gd name="connsiteX15" fmla="*/ 45854 w 61139"/>
                <a:gd name="connsiteY15" fmla="*/ 60703 h 91273"/>
                <a:gd name="connsiteX16" fmla="*/ 30570 w 61139"/>
                <a:gd name="connsiteY16" fmla="*/ 75988 h 91273"/>
                <a:gd name="connsiteX17" fmla="*/ 15285 w 61139"/>
                <a:gd name="connsiteY17" fmla="*/ 60703 h 9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139" h="91273">
                  <a:moveTo>
                    <a:pt x="61139" y="60703"/>
                  </a:moveTo>
                  <a:lnTo>
                    <a:pt x="61139" y="59412"/>
                  </a:lnTo>
                  <a:cubicBezTo>
                    <a:pt x="61139" y="53864"/>
                    <a:pt x="59634" y="48422"/>
                    <a:pt x="56783" y="43676"/>
                  </a:cubicBezTo>
                  <a:lnTo>
                    <a:pt x="30570" y="0"/>
                  </a:lnTo>
                  <a:lnTo>
                    <a:pt x="4356" y="43684"/>
                  </a:lnTo>
                  <a:cubicBezTo>
                    <a:pt x="1506" y="48430"/>
                    <a:pt x="0" y="53864"/>
                    <a:pt x="0" y="59412"/>
                  </a:cubicBezTo>
                  <a:lnTo>
                    <a:pt x="0" y="60703"/>
                  </a:lnTo>
                  <a:cubicBezTo>
                    <a:pt x="0" y="77563"/>
                    <a:pt x="13710" y="91273"/>
                    <a:pt x="30570" y="91273"/>
                  </a:cubicBezTo>
                  <a:cubicBezTo>
                    <a:pt x="47429" y="91273"/>
                    <a:pt x="61139" y="77563"/>
                    <a:pt x="61139" y="60703"/>
                  </a:cubicBezTo>
                  <a:close/>
                  <a:moveTo>
                    <a:pt x="15285" y="60703"/>
                  </a:moveTo>
                  <a:lnTo>
                    <a:pt x="15285" y="59412"/>
                  </a:lnTo>
                  <a:cubicBezTo>
                    <a:pt x="15285" y="56645"/>
                    <a:pt x="16041" y="53917"/>
                    <a:pt x="17463" y="51548"/>
                  </a:cubicBezTo>
                  <a:lnTo>
                    <a:pt x="30570" y="29698"/>
                  </a:lnTo>
                  <a:lnTo>
                    <a:pt x="43676" y="51540"/>
                  </a:lnTo>
                  <a:cubicBezTo>
                    <a:pt x="45098" y="53917"/>
                    <a:pt x="45854" y="56645"/>
                    <a:pt x="45854" y="59412"/>
                  </a:cubicBezTo>
                  <a:lnTo>
                    <a:pt x="45854" y="60703"/>
                  </a:lnTo>
                  <a:cubicBezTo>
                    <a:pt x="45854" y="69133"/>
                    <a:pt x="38999" y="75988"/>
                    <a:pt x="30570" y="75988"/>
                  </a:cubicBezTo>
                  <a:cubicBezTo>
                    <a:pt x="22140" y="75988"/>
                    <a:pt x="15285" y="69133"/>
                    <a:pt x="15285" y="60703"/>
                  </a:cubicBez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Freeform: Shape 46">
              <a:extLst>
                <a:ext uri="{FF2B5EF4-FFF2-40B4-BE49-F238E27FC236}">
                  <a16:creationId xmlns:a16="http://schemas.microsoft.com/office/drawing/2014/main" id="{876133E0-7B57-7CDF-8851-E20D75FF3031}"/>
                </a:ext>
              </a:extLst>
            </p:cNvPr>
            <p:cNvSpPr/>
            <p:nvPr/>
          </p:nvSpPr>
          <p:spPr>
            <a:xfrm>
              <a:off x="9437954" y="4231761"/>
              <a:ext cx="61139" cy="61139"/>
            </a:xfrm>
            <a:custGeom>
              <a:avLst/>
              <a:gdLst>
                <a:gd name="connsiteX0" fmla="*/ 30570 w 61139"/>
                <a:gd name="connsiteY0" fmla="*/ 61139 h 61139"/>
                <a:gd name="connsiteX1" fmla="*/ 61139 w 61139"/>
                <a:gd name="connsiteY1" fmla="*/ 30570 h 61139"/>
                <a:gd name="connsiteX2" fmla="*/ 30570 w 61139"/>
                <a:gd name="connsiteY2" fmla="*/ 0 h 61139"/>
                <a:gd name="connsiteX3" fmla="*/ 0 w 61139"/>
                <a:gd name="connsiteY3" fmla="*/ 30570 h 61139"/>
                <a:gd name="connsiteX4" fmla="*/ 30570 w 61139"/>
                <a:gd name="connsiteY4" fmla="*/ 61139 h 61139"/>
                <a:gd name="connsiteX5" fmla="*/ 30570 w 61139"/>
                <a:gd name="connsiteY5" fmla="*/ 15285 h 61139"/>
                <a:gd name="connsiteX6" fmla="*/ 45854 w 61139"/>
                <a:gd name="connsiteY6" fmla="*/ 30570 h 61139"/>
                <a:gd name="connsiteX7" fmla="*/ 30570 w 61139"/>
                <a:gd name="connsiteY7" fmla="*/ 45854 h 61139"/>
                <a:gd name="connsiteX8" fmla="*/ 15285 w 61139"/>
                <a:gd name="connsiteY8" fmla="*/ 30570 h 61139"/>
                <a:gd name="connsiteX9" fmla="*/ 30570 w 61139"/>
                <a:gd name="connsiteY9" fmla="*/ 15285 h 6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39" h="61139">
                  <a:moveTo>
                    <a:pt x="30570" y="61139"/>
                  </a:moveTo>
                  <a:cubicBezTo>
                    <a:pt x="47429" y="61139"/>
                    <a:pt x="61139" y="47429"/>
                    <a:pt x="61139" y="30570"/>
                  </a:cubicBezTo>
                  <a:cubicBezTo>
                    <a:pt x="61139" y="13710"/>
                    <a:pt x="47429" y="0"/>
                    <a:pt x="30570" y="0"/>
                  </a:cubicBezTo>
                  <a:cubicBezTo>
                    <a:pt x="13710" y="0"/>
                    <a:pt x="0" y="13710"/>
                    <a:pt x="0" y="30570"/>
                  </a:cubicBezTo>
                  <a:cubicBezTo>
                    <a:pt x="0" y="47429"/>
                    <a:pt x="13710" y="61139"/>
                    <a:pt x="30570" y="61139"/>
                  </a:cubicBezTo>
                  <a:close/>
                  <a:moveTo>
                    <a:pt x="30570" y="15285"/>
                  </a:moveTo>
                  <a:cubicBezTo>
                    <a:pt x="38999" y="15285"/>
                    <a:pt x="45854" y="22140"/>
                    <a:pt x="45854" y="30570"/>
                  </a:cubicBezTo>
                  <a:cubicBezTo>
                    <a:pt x="45854" y="38999"/>
                    <a:pt x="38999" y="45854"/>
                    <a:pt x="30570" y="45854"/>
                  </a:cubicBezTo>
                  <a:cubicBezTo>
                    <a:pt x="22140" y="45854"/>
                    <a:pt x="15285" y="38999"/>
                    <a:pt x="15285" y="30570"/>
                  </a:cubicBezTo>
                  <a:cubicBezTo>
                    <a:pt x="15285" y="22140"/>
                    <a:pt x="22148" y="15285"/>
                    <a:pt x="30570" y="15285"/>
                  </a:cubicBez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Freeform: Shape 47">
              <a:extLst>
                <a:ext uri="{FF2B5EF4-FFF2-40B4-BE49-F238E27FC236}">
                  <a16:creationId xmlns:a16="http://schemas.microsoft.com/office/drawing/2014/main" id="{05F2932B-9CF7-DF06-BA54-A35731ABF727}"/>
                </a:ext>
              </a:extLst>
            </p:cNvPr>
            <p:cNvSpPr/>
            <p:nvPr/>
          </p:nvSpPr>
          <p:spPr>
            <a:xfrm>
              <a:off x="9397541" y="4166226"/>
              <a:ext cx="420352" cy="157243"/>
            </a:xfrm>
            <a:custGeom>
              <a:avLst/>
              <a:gdLst>
                <a:gd name="connsiteX0" fmla="*/ 417978 w 420352"/>
                <a:gd name="connsiteY0" fmla="*/ 50640 h 157243"/>
                <a:gd name="connsiteX1" fmla="*/ 396235 w 420352"/>
                <a:gd name="connsiteY1" fmla="*/ 34965 h 157243"/>
                <a:gd name="connsiteX2" fmla="*/ 390656 w 420352"/>
                <a:gd name="connsiteY2" fmla="*/ 34965 h 157243"/>
                <a:gd name="connsiteX3" fmla="*/ 374500 w 420352"/>
                <a:gd name="connsiteY3" fmla="*/ 41637 h 157243"/>
                <a:gd name="connsiteX4" fmla="*/ 374225 w 420352"/>
                <a:gd name="connsiteY4" fmla="*/ 39665 h 157243"/>
                <a:gd name="connsiteX5" fmla="*/ 374064 w 420352"/>
                <a:gd name="connsiteY5" fmla="*/ 38863 h 157243"/>
                <a:gd name="connsiteX6" fmla="*/ 360087 w 420352"/>
                <a:gd name="connsiteY6" fmla="*/ 23043 h 157243"/>
                <a:gd name="connsiteX7" fmla="*/ 339108 w 420352"/>
                <a:gd name="connsiteY7" fmla="*/ 25359 h 157243"/>
                <a:gd name="connsiteX8" fmla="*/ 337610 w 420352"/>
                <a:gd name="connsiteY8" fmla="*/ 26360 h 157243"/>
                <a:gd name="connsiteX9" fmla="*/ 329815 w 420352"/>
                <a:gd name="connsiteY9" fmla="*/ 35179 h 157243"/>
                <a:gd name="connsiteX10" fmla="*/ 312513 w 420352"/>
                <a:gd name="connsiteY10" fmla="*/ 69784 h 157243"/>
                <a:gd name="connsiteX11" fmla="*/ 272665 w 420352"/>
                <a:gd name="connsiteY11" fmla="*/ 65802 h 157243"/>
                <a:gd name="connsiteX12" fmla="*/ 269371 w 420352"/>
                <a:gd name="connsiteY12" fmla="*/ 65237 h 157243"/>
                <a:gd name="connsiteX13" fmla="*/ 252329 w 420352"/>
                <a:gd name="connsiteY13" fmla="*/ 60972 h 157243"/>
                <a:gd name="connsiteX14" fmla="*/ 253628 w 420352"/>
                <a:gd name="connsiteY14" fmla="*/ 59948 h 157243"/>
                <a:gd name="connsiteX15" fmla="*/ 272596 w 420352"/>
                <a:gd name="connsiteY15" fmla="*/ 47300 h 157243"/>
                <a:gd name="connsiteX16" fmla="*/ 282119 w 420352"/>
                <a:gd name="connsiteY16" fmla="*/ 22669 h 157243"/>
                <a:gd name="connsiteX17" fmla="*/ 280789 w 420352"/>
                <a:gd name="connsiteY17" fmla="*/ 17372 h 157243"/>
                <a:gd name="connsiteX18" fmla="*/ 252986 w 420352"/>
                <a:gd name="connsiteY18" fmla="*/ 697 h 157243"/>
                <a:gd name="connsiteX19" fmla="*/ 240491 w 420352"/>
                <a:gd name="connsiteY19" fmla="*/ 3815 h 157243"/>
                <a:gd name="connsiteX20" fmla="*/ 231717 w 420352"/>
                <a:gd name="connsiteY20" fmla="*/ 8148 h 157243"/>
                <a:gd name="connsiteX21" fmla="*/ 174644 w 420352"/>
                <a:gd name="connsiteY21" fmla="*/ 53811 h 157243"/>
                <a:gd name="connsiteX22" fmla="*/ 141247 w 420352"/>
                <a:gd name="connsiteY22" fmla="*/ 65535 h 157243"/>
                <a:gd name="connsiteX23" fmla="*/ 129921 w 420352"/>
                <a:gd name="connsiteY23" fmla="*/ 65535 h 157243"/>
                <a:gd name="connsiteX24" fmla="*/ 129921 w 420352"/>
                <a:gd name="connsiteY24" fmla="*/ 34965 h 157243"/>
                <a:gd name="connsiteX25" fmla="*/ 0 w 420352"/>
                <a:gd name="connsiteY25" fmla="*/ 34965 h 157243"/>
                <a:gd name="connsiteX26" fmla="*/ 0 w 420352"/>
                <a:gd name="connsiteY26" fmla="*/ 157243 h 157243"/>
                <a:gd name="connsiteX27" fmla="*/ 129921 w 420352"/>
                <a:gd name="connsiteY27" fmla="*/ 157243 h 157243"/>
                <a:gd name="connsiteX28" fmla="*/ 129921 w 420352"/>
                <a:gd name="connsiteY28" fmla="*/ 135906 h 157243"/>
                <a:gd name="connsiteX29" fmla="*/ 144074 w 420352"/>
                <a:gd name="connsiteY29" fmla="*/ 139444 h 157243"/>
                <a:gd name="connsiteX30" fmla="*/ 164464 w 420352"/>
                <a:gd name="connsiteY30" fmla="*/ 141959 h 157243"/>
                <a:gd name="connsiteX31" fmla="*/ 287858 w 420352"/>
                <a:gd name="connsiteY31" fmla="*/ 141959 h 157243"/>
                <a:gd name="connsiteX32" fmla="*/ 314446 w 420352"/>
                <a:gd name="connsiteY32" fmla="*/ 137648 h 157243"/>
                <a:gd name="connsiteX33" fmla="*/ 354339 w 420352"/>
                <a:gd name="connsiteY33" fmla="*/ 124351 h 157243"/>
                <a:gd name="connsiteX34" fmla="*/ 387202 w 420352"/>
                <a:gd name="connsiteY34" fmla="*/ 104045 h 157243"/>
                <a:gd name="connsiteX35" fmla="*/ 413621 w 420352"/>
                <a:gd name="connsiteY35" fmla="*/ 77625 h 157243"/>
                <a:gd name="connsiteX36" fmla="*/ 419162 w 420352"/>
                <a:gd name="connsiteY36" fmla="*/ 54163 h 157243"/>
                <a:gd name="connsiteX37" fmla="*/ 417978 w 420352"/>
                <a:gd name="connsiteY37" fmla="*/ 50640 h 157243"/>
                <a:gd name="connsiteX38" fmla="*/ 343487 w 420352"/>
                <a:gd name="connsiteY38" fmla="*/ 42012 h 157243"/>
                <a:gd name="connsiteX39" fmla="*/ 346086 w 420352"/>
                <a:gd name="connsiteY39" fmla="*/ 39069 h 157243"/>
                <a:gd name="connsiteX40" fmla="*/ 347584 w 420352"/>
                <a:gd name="connsiteY40" fmla="*/ 38068 h 157243"/>
                <a:gd name="connsiteX41" fmla="*/ 354576 w 420352"/>
                <a:gd name="connsiteY41" fmla="*/ 37296 h 157243"/>
                <a:gd name="connsiteX42" fmla="*/ 359154 w 420352"/>
                <a:gd name="connsiteY42" fmla="*/ 42233 h 157243"/>
                <a:gd name="connsiteX43" fmla="*/ 360942 w 420352"/>
                <a:gd name="connsiteY43" fmla="*/ 55164 h 157243"/>
                <a:gd name="connsiteX44" fmla="*/ 350946 w 420352"/>
                <a:gd name="connsiteY44" fmla="*/ 65160 h 157243"/>
                <a:gd name="connsiteX45" fmla="*/ 332452 w 420352"/>
                <a:gd name="connsiteY45" fmla="*/ 71763 h 157243"/>
                <a:gd name="connsiteX46" fmla="*/ 328783 w 420352"/>
                <a:gd name="connsiteY46" fmla="*/ 71396 h 157243"/>
                <a:gd name="connsiteX47" fmla="*/ 343487 w 420352"/>
                <a:gd name="connsiteY47" fmla="*/ 42012 h 157243"/>
                <a:gd name="connsiteX48" fmla="*/ 114636 w 420352"/>
                <a:gd name="connsiteY48" fmla="*/ 141959 h 157243"/>
                <a:gd name="connsiteX49" fmla="*/ 15285 w 420352"/>
                <a:gd name="connsiteY49" fmla="*/ 141959 h 157243"/>
                <a:gd name="connsiteX50" fmla="*/ 15285 w 420352"/>
                <a:gd name="connsiteY50" fmla="*/ 50250 h 157243"/>
                <a:gd name="connsiteX51" fmla="*/ 22927 w 420352"/>
                <a:gd name="connsiteY51" fmla="*/ 50250 h 157243"/>
                <a:gd name="connsiteX52" fmla="*/ 22927 w 420352"/>
                <a:gd name="connsiteY52" fmla="*/ 88462 h 157243"/>
                <a:gd name="connsiteX53" fmla="*/ 38212 w 420352"/>
                <a:gd name="connsiteY53" fmla="*/ 88462 h 157243"/>
                <a:gd name="connsiteX54" fmla="*/ 38212 w 420352"/>
                <a:gd name="connsiteY54" fmla="*/ 50250 h 157243"/>
                <a:gd name="connsiteX55" fmla="*/ 114636 w 420352"/>
                <a:gd name="connsiteY55" fmla="*/ 50250 h 157243"/>
                <a:gd name="connsiteX56" fmla="*/ 114636 w 420352"/>
                <a:gd name="connsiteY56" fmla="*/ 141959 h 157243"/>
                <a:gd name="connsiteX57" fmla="*/ 402808 w 420352"/>
                <a:gd name="connsiteY57" fmla="*/ 66811 h 157243"/>
                <a:gd name="connsiteX58" fmla="*/ 376388 w 420352"/>
                <a:gd name="connsiteY58" fmla="*/ 93231 h 157243"/>
                <a:gd name="connsiteX59" fmla="*/ 349502 w 420352"/>
                <a:gd name="connsiteY59" fmla="*/ 109845 h 157243"/>
                <a:gd name="connsiteX60" fmla="*/ 309601 w 420352"/>
                <a:gd name="connsiteY60" fmla="*/ 123143 h 157243"/>
                <a:gd name="connsiteX61" fmla="*/ 287851 w 420352"/>
                <a:gd name="connsiteY61" fmla="*/ 126674 h 157243"/>
                <a:gd name="connsiteX62" fmla="*/ 164464 w 420352"/>
                <a:gd name="connsiteY62" fmla="*/ 126674 h 157243"/>
                <a:gd name="connsiteX63" fmla="*/ 147773 w 420352"/>
                <a:gd name="connsiteY63" fmla="*/ 124618 h 157243"/>
                <a:gd name="connsiteX64" fmla="*/ 129921 w 420352"/>
                <a:gd name="connsiteY64" fmla="*/ 120163 h 157243"/>
                <a:gd name="connsiteX65" fmla="*/ 129921 w 420352"/>
                <a:gd name="connsiteY65" fmla="*/ 80820 h 157243"/>
                <a:gd name="connsiteX66" fmla="*/ 141247 w 420352"/>
                <a:gd name="connsiteY66" fmla="*/ 80820 h 157243"/>
                <a:gd name="connsiteX67" fmla="*/ 184212 w 420352"/>
                <a:gd name="connsiteY67" fmla="*/ 65749 h 157243"/>
                <a:gd name="connsiteX68" fmla="*/ 241286 w 420352"/>
                <a:gd name="connsiteY68" fmla="*/ 20086 h 157243"/>
                <a:gd name="connsiteX69" fmla="*/ 244205 w 420352"/>
                <a:gd name="connsiteY69" fmla="*/ 18641 h 157243"/>
                <a:gd name="connsiteX70" fmla="*/ 256716 w 420352"/>
                <a:gd name="connsiteY70" fmla="*/ 15515 h 157243"/>
                <a:gd name="connsiteX71" fmla="*/ 265978 w 420352"/>
                <a:gd name="connsiteY71" fmla="*/ 21079 h 157243"/>
                <a:gd name="connsiteX72" fmla="*/ 267308 w 420352"/>
                <a:gd name="connsiteY72" fmla="*/ 26375 h 157243"/>
                <a:gd name="connsiteX73" fmla="*/ 264129 w 420352"/>
                <a:gd name="connsiteY73" fmla="*/ 34583 h 157243"/>
                <a:gd name="connsiteX74" fmla="*/ 245168 w 420352"/>
                <a:gd name="connsiteY74" fmla="*/ 47224 h 157243"/>
                <a:gd name="connsiteX75" fmla="*/ 229295 w 420352"/>
                <a:gd name="connsiteY75" fmla="*/ 88279 h 157243"/>
                <a:gd name="connsiteX76" fmla="*/ 231710 w 420352"/>
                <a:gd name="connsiteY76" fmla="*/ 97954 h 157243"/>
                <a:gd name="connsiteX77" fmla="*/ 246528 w 420352"/>
                <a:gd name="connsiteY77" fmla="*/ 94255 h 157243"/>
                <a:gd name="connsiteX78" fmla="*/ 244113 w 420352"/>
                <a:gd name="connsiteY78" fmla="*/ 84572 h 157243"/>
                <a:gd name="connsiteX79" fmla="*/ 243899 w 420352"/>
                <a:gd name="connsiteY79" fmla="*/ 74606 h 157243"/>
                <a:gd name="connsiteX80" fmla="*/ 265680 w 420352"/>
                <a:gd name="connsiteY80" fmla="*/ 80055 h 157243"/>
                <a:gd name="connsiteX81" fmla="*/ 271144 w 420352"/>
                <a:gd name="connsiteY81" fmla="*/ 81011 h 157243"/>
                <a:gd name="connsiteX82" fmla="*/ 330938 w 420352"/>
                <a:gd name="connsiteY82" fmla="*/ 86987 h 157243"/>
                <a:gd name="connsiteX83" fmla="*/ 361760 w 420352"/>
                <a:gd name="connsiteY83" fmla="*/ 75982 h 157243"/>
                <a:gd name="connsiteX84" fmla="*/ 385245 w 420352"/>
                <a:gd name="connsiteY84" fmla="*/ 52497 h 157243"/>
                <a:gd name="connsiteX85" fmla="*/ 390648 w 420352"/>
                <a:gd name="connsiteY85" fmla="*/ 50250 h 157243"/>
                <a:gd name="connsiteX86" fmla="*/ 396227 w 420352"/>
                <a:gd name="connsiteY86" fmla="*/ 50250 h 157243"/>
                <a:gd name="connsiteX87" fmla="*/ 403480 w 420352"/>
                <a:gd name="connsiteY87" fmla="*/ 55477 h 157243"/>
                <a:gd name="connsiteX88" fmla="*/ 404642 w 420352"/>
                <a:gd name="connsiteY88" fmla="*/ 58985 h 157243"/>
                <a:gd name="connsiteX89" fmla="*/ 402808 w 420352"/>
                <a:gd name="connsiteY89" fmla="*/ 66811 h 157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20352" h="157243">
                  <a:moveTo>
                    <a:pt x="417978" y="50640"/>
                  </a:moveTo>
                  <a:cubicBezTo>
                    <a:pt x="414852" y="41263"/>
                    <a:pt x="406117" y="34965"/>
                    <a:pt x="396235" y="34965"/>
                  </a:cubicBezTo>
                  <a:lnTo>
                    <a:pt x="390656" y="34965"/>
                  </a:lnTo>
                  <a:cubicBezTo>
                    <a:pt x="384557" y="34965"/>
                    <a:pt x="378826" y="37342"/>
                    <a:pt x="374500" y="41637"/>
                  </a:cubicBezTo>
                  <a:lnTo>
                    <a:pt x="374225" y="39665"/>
                  </a:lnTo>
                  <a:lnTo>
                    <a:pt x="374064" y="38863"/>
                  </a:lnTo>
                  <a:cubicBezTo>
                    <a:pt x="372261" y="31641"/>
                    <a:pt x="367026" y="25726"/>
                    <a:pt x="360087" y="23043"/>
                  </a:cubicBezTo>
                  <a:cubicBezTo>
                    <a:pt x="353117" y="20353"/>
                    <a:pt x="345283" y="21224"/>
                    <a:pt x="339108" y="25359"/>
                  </a:cubicBezTo>
                  <a:lnTo>
                    <a:pt x="337610" y="26360"/>
                  </a:lnTo>
                  <a:cubicBezTo>
                    <a:pt x="334293" y="28569"/>
                    <a:pt x="331603" y="31618"/>
                    <a:pt x="329815" y="35179"/>
                  </a:cubicBezTo>
                  <a:lnTo>
                    <a:pt x="312513" y="69784"/>
                  </a:lnTo>
                  <a:lnTo>
                    <a:pt x="272665" y="65802"/>
                  </a:lnTo>
                  <a:cubicBezTo>
                    <a:pt x="271549" y="65688"/>
                    <a:pt x="270457" y="65504"/>
                    <a:pt x="269371" y="65237"/>
                  </a:cubicBezTo>
                  <a:lnTo>
                    <a:pt x="252329" y="60972"/>
                  </a:lnTo>
                  <a:cubicBezTo>
                    <a:pt x="252764" y="60636"/>
                    <a:pt x="253162" y="60262"/>
                    <a:pt x="253628" y="59948"/>
                  </a:cubicBezTo>
                  <a:lnTo>
                    <a:pt x="272596" y="47300"/>
                  </a:lnTo>
                  <a:cubicBezTo>
                    <a:pt x="280636" y="41935"/>
                    <a:pt x="284457" y="32031"/>
                    <a:pt x="282119" y="22669"/>
                  </a:cubicBezTo>
                  <a:lnTo>
                    <a:pt x="280789" y="17372"/>
                  </a:lnTo>
                  <a:cubicBezTo>
                    <a:pt x="277724" y="5114"/>
                    <a:pt x="265244" y="-2398"/>
                    <a:pt x="252986" y="697"/>
                  </a:cubicBezTo>
                  <a:lnTo>
                    <a:pt x="240491" y="3815"/>
                  </a:lnTo>
                  <a:cubicBezTo>
                    <a:pt x="237266" y="4617"/>
                    <a:pt x="234308" y="6077"/>
                    <a:pt x="231717" y="8148"/>
                  </a:cubicBezTo>
                  <a:lnTo>
                    <a:pt x="174644" y="53811"/>
                  </a:lnTo>
                  <a:cubicBezTo>
                    <a:pt x="165213" y="61370"/>
                    <a:pt x="153345" y="65535"/>
                    <a:pt x="141247" y="65535"/>
                  </a:cubicBezTo>
                  <a:lnTo>
                    <a:pt x="129921" y="65535"/>
                  </a:lnTo>
                  <a:lnTo>
                    <a:pt x="129921" y="34965"/>
                  </a:lnTo>
                  <a:lnTo>
                    <a:pt x="0" y="34965"/>
                  </a:lnTo>
                  <a:lnTo>
                    <a:pt x="0" y="157243"/>
                  </a:lnTo>
                  <a:lnTo>
                    <a:pt x="129921" y="157243"/>
                  </a:lnTo>
                  <a:lnTo>
                    <a:pt x="129921" y="135906"/>
                  </a:lnTo>
                  <a:lnTo>
                    <a:pt x="144074" y="139444"/>
                  </a:lnTo>
                  <a:cubicBezTo>
                    <a:pt x="150739" y="141118"/>
                    <a:pt x="157594" y="141959"/>
                    <a:pt x="164464" y="141959"/>
                  </a:cubicBezTo>
                  <a:lnTo>
                    <a:pt x="287858" y="141959"/>
                  </a:lnTo>
                  <a:cubicBezTo>
                    <a:pt x="296915" y="141959"/>
                    <a:pt x="305856" y="140514"/>
                    <a:pt x="314446" y="137648"/>
                  </a:cubicBezTo>
                  <a:lnTo>
                    <a:pt x="354339" y="124351"/>
                  </a:lnTo>
                  <a:cubicBezTo>
                    <a:pt x="366651" y="120247"/>
                    <a:pt x="378016" y="113231"/>
                    <a:pt x="387202" y="104045"/>
                  </a:cubicBezTo>
                  <a:lnTo>
                    <a:pt x="413621" y="77625"/>
                  </a:lnTo>
                  <a:cubicBezTo>
                    <a:pt x="419804" y="71442"/>
                    <a:pt x="421921" y="62463"/>
                    <a:pt x="419162" y="54163"/>
                  </a:cubicBezTo>
                  <a:lnTo>
                    <a:pt x="417978" y="50640"/>
                  </a:lnTo>
                  <a:close/>
                  <a:moveTo>
                    <a:pt x="343487" y="42012"/>
                  </a:moveTo>
                  <a:cubicBezTo>
                    <a:pt x="344076" y="40827"/>
                    <a:pt x="344978" y="39810"/>
                    <a:pt x="346086" y="39069"/>
                  </a:cubicBezTo>
                  <a:lnTo>
                    <a:pt x="347584" y="38068"/>
                  </a:lnTo>
                  <a:cubicBezTo>
                    <a:pt x="349678" y="36662"/>
                    <a:pt x="352223" y="36387"/>
                    <a:pt x="354576" y="37296"/>
                  </a:cubicBezTo>
                  <a:cubicBezTo>
                    <a:pt x="356816" y="38160"/>
                    <a:pt x="358474" y="39956"/>
                    <a:pt x="359154" y="42233"/>
                  </a:cubicBezTo>
                  <a:lnTo>
                    <a:pt x="360942" y="55164"/>
                  </a:lnTo>
                  <a:lnTo>
                    <a:pt x="350946" y="65160"/>
                  </a:lnTo>
                  <a:cubicBezTo>
                    <a:pt x="346063" y="70044"/>
                    <a:pt x="339322" y="72413"/>
                    <a:pt x="332452" y="71763"/>
                  </a:cubicBezTo>
                  <a:lnTo>
                    <a:pt x="328783" y="71396"/>
                  </a:lnTo>
                  <a:lnTo>
                    <a:pt x="343487" y="42012"/>
                  </a:lnTo>
                  <a:close/>
                  <a:moveTo>
                    <a:pt x="114636" y="141959"/>
                  </a:moveTo>
                  <a:lnTo>
                    <a:pt x="15285" y="141959"/>
                  </a:lnTo>
                  <a:lnTo>
                    <a:pt x="15285" y="50250"/>
                  </a:lnTo>
                  <a:lnTo>
                    <a:pt x="22927" y="50250"/>
                  </a:lnTo>
                  <a:lnTo>
                    <a:pt x="22927" y="88462"/>
                  </a:lnTo>
                  <a:lnTo>
                    <a:pt x="38212" y="88462"/>
                  </a:lnTo>
                  <a:lnTo>
                    <a:pt x="38212" y="50250"/>
                  </a:lnTo>
                  <a:lnTo>
                    <a:pt x="114636" y="50250"/>
                  </a:lnTo>
                  <a:lnTo>
                    <a:pt x="114636" y="141959"/>
                  </a:lnTo>
                  <a:close/>
                  <a:moveTo>
                    <a:pt x="402808" y="66811"/>
                  </a:moveTo>
                  <a:lnTo>
                    <a:pt x="376388" y="93231"/>
                  </a:lnTo>
                  <a:cubicBezTo>
                    <a:pt x="368875" y="100743"/>
                    <a:pt x="359582" y="106483"/>
                    <a:pt x="349502" y="109845"/>
                  </a:cubicBezTo>
                  <a:lnTo>
                    <a:pt x="309601" y="123143"/>
                  </a:lnTo>
                  <a:cubicBezTo>
                    <a:pt x="302585" y="125489"/>
                    <a:pt x="295264" y="126674"/>
                    <a:pt x="287851" y="126674"/>
                  </a:cubicBezTo>
                  <a:lnTo>
                    <a:pt x="164464" y="126674"/>
                  </a:lnTo>
                  <a:cubicBezTo>
                    <a:pt x="158855" y="126674"/>
                    <a:pt x="153230" y="125978"/>
                    <a:pt x="147773" y="124618"/>
                  </a:cubicBezTo>
                  <a:lnTo>
                    <a:pt x="129921" y="120163"/>
                  </a:lnTo>
                  <a:lnTo>
                    <a:pt x="129921" y="80820"/>
                  </a:lnTo>
                  <a:lnTo>
                    <a:pt x="141247" y="80820"/>
                  </a:lnTo>
                  <a:cubicBezTo>
                    <a:pt x="156799" y="80820"/>
                    <a:pt x="172053" y="75470"/>
                    <a:pt x="184212" y="65749"/>
                  </a:cubicBezTo>
                  <a:lnTo>
                    <a:pt x="241286" y="20086"/>
                  </a:lnTo>
                  <a:cubicBezTo>
                    <a:pt x="242141" y="19390"/>
                    <a:pt x="243120" y="18909"/>
                    <a:pt x="244205" y="18641"/>
                  </a:cubicBezTo>
                  <a:lnTo>
                    <a:pt x="256716" y="15515"/>
                  </a:lnTo>
                  <a:cubicBezTo>
                    <a:pt x="260781" y="14522"/>
                    <a:pt x="264954" y="16990"/>
                    <a:pt x="265978" y="21079"/>
                  </a:cubicBezTo>
                  <a:lnTo>
                    <a:pt x="267308" y="26375"/>
                  </a:lnTo>
                  <a:cubicBezTo>
                    <a:pt x="268087" y="29493"/>
                    <a:pt x="266811" y="32795"/>
                    <a:pt x="264129" y="34583"/>
                  </a:cubicBezTo>
                  <a:lnTo>
                    <a:pt x="245168" y="47224"/>
                  </a:lnTo>
                  <a:cubicBezTo>
                    <a:pt x="231763" y="56158"/>
                    <a:pt x="225382" y="72657"/>
                    <a:pt x="229295" y="88279"/>
                  </a:cubicBezTo>
                  <a:lnTo>
                    <a:pt x="231710" y="97954"/>
                  </a:lnTo>
                  <a:lnTo>
                    <a:pt x="246528" y="94255"/>
                  </a:lnTo>
                  <a:lnTo>
                    <a:pt x="244113" y="84572"/>
                  </a:lnTo>
                  <a:cubicBezTo>
                    <a:pt x="243280" y="81240"/>
                    <a:pt x="243257" y="77847"/>
                    <a:pt x="243899" y="74606"/>
                  </a:cubicBezTo>
                  <a:lnTo>
                    <a:pt x="265680" y="80055"/>
                  </a:lnTo>
                  <a:cubicBezTo>
                    <a:pt x="267461" y="80506"/>
                    <a:pt x="269295" y="80827"/>
                    <a:pt x="271144" y="81011"/>
                  </a:cubicBezTo>
                  <a:lnTo>
                    <a:pt x="330938" y="86987"/>
                  </a:lnTo>
                  <a:cubicBezTo>
                    <a:pt x="342356" y="88110"/>
                    <a:pt x="353621" y="84113"/>
                    <a:pt x="361760" y="75982"/>
                  </a:cubicBezTo>
                  <a:lnTo>
                    <a:pt x="385245" y="52497"/>
                  </a:lnTo>
                  <a:cubicBezTo>
                    <a:pt x="386674" y="51060"/>
                    <a:pt x="388646" y="50250"/>
                    <a:pt x="390648" y="50250"/>
                  </a:cubicBezTo>
                  <a:lnTo>
                    <a:pt x="396227" y="50250"/>
                  </a:lnTo>
                  <a:cubicBezTo>
                    <a:pt x="399521" y="50250"/>
                    <a:pt x="402433" y="52344"/>
                    <a:pt x="403480" y="55477"/>
                  </a:cubicBezTo>
                  <a:lnTo>
                    <a:pt x="404642" y="58985"/>
                  </a:lnTo>
                  <a:cubicBezTo>
                    <a:pt x="405574" y="61752"/>
                    <a:pt x="404871" y="64748"/>
                    <a:pt x="402808" y="66811"/>
                  </a:cubicBez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Freeform: Shape 48">
              <a:extLst>
                <a:ext uri="{FF2B5EF4-FFF2-40B4-BE49-F238E27FC236}">
                  <a16:creationId xmlns:a16="http://schemas.microsoft.com/office/drawing/2014/main" id="{EB6369C7-A5EC-80A9-94E6-2857E7987D01}"/>
                </a:ext>
              </a:extLst>
            </p:cNvPr>
            <p:cNvSpPr/>
            <p:nvPr/>
          </p:nvSpPr>
          <p:spPr>
            <a:xfrm>
              <a:off x="9420468" y="4269973"/>
              <a:ext cx="15284" cy="15284"/>
            </a:xfrm>
            <a:custGeom>
              <a:avLst/>
              <a:gdLst>
                <a:gd name="connsiteX0" fmla="*/ 0 w 15284"/>
                <a:gd name="connsiteY0" fmla="*/ 0 h 15284"/>
                <a:gd name="connsiteX1" fmla="*/ 15285 w 15284"/>
                <a:gd name="connsiteY1" fmla="*/ 0 h 15284"/>
                <a:gd name="connsiteX2" fmla="*/ 15285 w 15284"/>
                <a:gd name="connsiteY2" fmla="*/ 15285 h 15284"/>
                <a:gd name="connsiteX3" fmla="*/ 0 w 15284"/>
                <a:gd name="connsiteY3" fmla="*/ 15285 h 15284"/>
              </a:gdLst>
              <a:ahLst/>
              <a:cxnLst>
                <a:cxn ang="0">
                  <a:pos x="connsiteX0" y="connsiteY0"/>
                </a:cxn>
                <a:cxn ang="0">
                  <a:pos x="connsiteX1" y="connsiteY1"/>
                </a:cxn>
                <a:cxn ang="0">
                  <a:pos x="connsiteX2" y="connsiteY2"/>
                </a:cxn>
                <a:cxn ang="0">
                  <a:pos x="connsiteX3" y="connsiteY3"/>
                </a:cxn>
              </a:cxnLst>
              <a:rect l="l" t="t" r="r" b="b"/>
              <a:pathLst>
                <a:path w="15284" h="15284">
                  <a:moveTo>
                    <a:pt x="0" y="0"/>
                  </a:moveTo>
                  <a:lnTo>
                    <a:pt x="15285" y="0"/>
                  </a:lnTo>
                  <a:lnTo>
                    <a:pt x="15285" y="15285"/>
                  </a:lnTo>
                  <a:lnTo>
                    <a:pt x="0" y="15285"/>
                  </a:ln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Freeform: Shape 49">
              <a:extLst>
                <a:ext uri="{FF2B5EF4-FFF2-40B4-BE49-F238E27FC236}">
                  <a16:creationId xmlns:a16="http://schemas.microsoft.com/office/drawing/2014/main" id="{6663AAC7-4D10-B244-3572-C7F1695DE685}"/>
                </a:ext>
              </a:extLst>
            </p:cNvPr>
            <p:cNvSpPr/>
            <p:nvPr/>
          </p:nvSpPr>
          <p:spPr>
            <a:xfrm>
              <a:off x="9558031" y="3849642"/>
              <a:ext cx="313338" cy="191059"/>
            </a:xfrm>
            <a:custGeom>
              <a:avLst/>
              <a:gdLst>
                <a:gd name="connsiteX0" fmla="*/ 313338 w 313338"/>
                <a:gd name="connsiteY0" fmla="*/ 76424 h 191059"/>
                <a:gd name="connsiteX1" fmla="*/ 313338 w 313338"/>
                <a:gd name="connsiteY1" fmla="*/ 61139 h 191059"/>
                <a:gd name="connsiteX2" fmla="*/ 281362 w 313338"/>
                <a:gd name="connsiteY2" fmla="*/ 61139 h 191059"/>
                <a:gd name="connsiteX3" fmla="*/ 259841 w 313338"/>
                <a:gd name="connsiteY3" fmla="*/ 45854 h 191059"/>
                <a:gd name="connsiteX4" fmla="*/ 229272 w 313338"/>
                <a:gd name="connsiteY4" fmla="*/ 45854 h 191059"/>
                <a:gd name="connsiteX5" fmla="*/ 207751 w 313338"/>
                <a:gd name="connsiteY5" fmla="*/ 61139 h 191059"/>
                <a:gd name="connsiteX6" fmla="*/ 168133 w 313338"/>
                <a:gd name="connsiteY6" fmla="*/ 61139 h 191059"/>
                <a:gd name="connsiteX7" fmla="*/ 168133 w 313338"/>
                <a:gd name="connsiteY7" fmla="*/ 38212 h 191059"/>
                <a:gd name="connsiteX8" fmla="*/ 129921 w 313338"/>
                <a:gd name="connsiteY8" fmla="*/ 0 h 191059"/>
                <a:gd name="connsiteX9" fmla="*/ 22927 w 313338"/>
                <a:gd name="connsiteY9" fmla="*/ 0 h 191059"/>
                <a:gd name="connsiteX10" fmla="*/ 0 w 313338"/>
                <a:gd name="connsiteY10" fmla="*/ 22927 h 191059"/>
                <a:gd name="connsiteX11" fmla="*/ 22927 w 313338"/>
                <a:gd name="connsiteY11" fmla="*/ 45854 h 191059"/>
                <a:gd name="connsiteX12" fmla="*/ 106993 w 313338"/>
                <a:gd name="connsiteY12" fmla="*/ 45854 h 191059"/>
                <a:gd name="connsiteX13" fmla="*/ 106993 w 313338"/>
                <a:gd name="connsiteY13" fmla="*/ 61139 h 191059"/>
                <a:gd name="connsiteX14" fmla="*/ 91709 w 313338"/>
                <a:gd name="connsiteY14" fmla="*/ 61139 h 191059"/>
                <a:gd name="connsiteX15" fmla="*/ 53497 w 313338"/>
                <a:gd name="connsiteY15" fmla="*/ 99351 h 191059"/>
                <a:gd name="connsiteX16" fmla="*/ 53497 w 313338"/>
                <a:gd name="connsiteY16" fmla="*/ 191060 h 191059"/>
                <a:gd name="connsiteX17" fmla="*/ 114636 w 313338"/>
                <a:gd name="connsiteY17" fmla="*/ 191060 h 191059"/>
                <a:gd name="connsiteX18" fmla="*/ 114636 w 313338"/>
                <a:gd name="connsiteY18" fmla="*/ 122278 h 191059"/>
                <a:gd name="connsiteX19" fmla="*/ 207751 w 313338"/>
                <a:gd name="connsiteY19" fmla="*/ 122278 h 191059"/>
                <a:gd name="connsiteX20" fmla="*/ 229272 w 313338"/>
                <a:gd name="connsiteY20" fmla="*/ 137563 h 191059"/>
                <a:gd name="connsiteX21" fmla="*/ 259841 w 313338"/>
                <a:gd name="connsiteY21" fmla="*/ 137563 h 191059"/>
                <a:gd name="connsiteX22" fmla="*/ 281362 w 313338"/>
                <a:gd name="connsiteY22" fmla="*/ 122278 h 191059"/>
                <a:gd name="connsiteX23" fmla="*/ 313338 w 313338"/>
                <a:gd name="connsiteY23" fmla="*/ 122278 h 191059"/>
                <a:gd name="connsiteX24" fmla="*/ 313338 w 313338"/>
                <a:gd name="connsiteY24" fmla="*/ 106993 h 191059"/>
                <a:gd name="connsiteX25" fmla="*/ 282768 w 313338"/>
                <a:gd name="connsiteY25" fmla="*/ 106993 h 191059"/>
                <a:gd name="connsiteX26" fmla="*/ 282768 w 313338"/>
                <a:gd name="connsiteY26" fmla="*/ 76424 h 191059"/>
                <a:gd name="connsiteX27" fmla="*/ 313338 w 313338"/>
                <a:gd name="connsiteY27" fmla="*/ 76424 h 191059"/>
                <a:gd name="connsiteX28" fmla="*/ 22927 w 313338"/>
                <a:gd name="connsiteY28" fmla="*/ 30570 h 191059"/>
                <a:gd name="connsiteX29" fmla="*/ 15285 w 313338"/>
                <a:gd name="connsiteY29" fmla="*/ 22927 h 191059"/>
                <a:gd name="connsiteX30" fmla="*/ 22927 w 313338"/>
                <a:gd name="connsiteY30" fmla="*/ 15285 h 191059"/>
                <a:gd name="connsiteX31" fmla="*/ 129921 w 313338"/>
                <a:gd name="connsiteY31" fmla="*/ 15285 h 191059"/>
                <a:gd name="connsiteX32" fmla="*/ 152848 w 313338"/>
                <a:gd name="connsiteY32" fmla="*/ 38212 h 191059"/>
                <a:gd name="connsiteX33" fmla="*/ 152848 w 313338"/>
                <a:gd name="connsiteY33" fmla="*/ 45854 h 191059"/>
                <a:gd name="connsiteX34" fmla="*/ 122278 w 313338"/>
                <a:gd name="connsiteY34" fmla="*/ 45854 h 191059"/>
                <a:gd name="connsiteX35" fmla="*/ 122278 w 313338"/>
                <a:gd name="connsiteY35" fmla="*/ 30570 h 191059"/>
                <a:gd name="connsiteX36" fmla="*/ 22927 w 313338"/>
                <a:gd name="connsiteY36" fmla="*/ 30570 h 191059"/>
                <a:gd name="connsiteX37" fmla="*/ 68782 w 313338"/>
                <a:gd name="connsiteY37" fmla="*/ 175775 h 191059"/>
                <a:gd name="connsiteX38" fmla="*/ 68782 w 313338"/>
                <a:gd name="connsiteY38" fmla="*/ 160490 h 191059"/>
                <a:gd name="connsiteX39" fmla="*/ 99351 w 313338"/>
                <a:gd name="connsiteY39" fmla="*/ 160490 h 191059"/>
                <a:gd name="connsiteX40" fmla="*/ 99351 w 313338"/>
                <a:gd name="connsiteY40" fmla="*/ 175775 h 191059"/>
                <a:gd name="connsiteX41" fmla="*/ 68782 w 313338"/>
                <a:gd name="connsiteY41" fmla="*/ 175775 h 191059"/>
                <a:gd name="connsiteX42" fmla="*/ 99351 w 313338"/>
                <a:gd name="connsiteY42" fmla="*/ 122278 h 191059"/>
                <a:gd name="connsiteX43" fmla="*/ 99351 w 313338"/>
                <a:gd name="connsiteY43" fmla="*/ 145205 h 191059"/>
                <a:gd name="connsiteX44" fmla="*/ 68782 w 313338"/>
                <a:gd name="connsiteY44" fmla="*/ 145205 h 191059"/>
                <a:gd name="connsiteX45" fmla="*/ 68782 w 313338"/>
                <a:gd name="connsiteY45" fmla="*/ 99351 h 191059"/>
                <a:gd name="connsiteX46" fmla="*/ 91709 w 313338"/>
                <a:gd name="connsiteY46" fmla="*/ 76424 h 191059"/>
                <a:gd name="connsiteX47" fmla="*/ 122278 w 313338"/>
                <a:gd name="connsiteY47" fmla="*/ 76424 h 191059"/>
                <a:gd name="connsiteX48" fmla="*/ 122278 w 313338"/>
                <a:gd name="connsiteY48" fmla="*/ 61139 h 191059"/>
                <a:gd name="connsiteX49" fmla="*/ 152848 w 313338"/>
                <a:gd name="connsiteY49" fmla="*/ 61139 h 191059"/>
                <a:gd name="connsiteX50" fmla="*/ 152848 w 313338"/>
                <a:gd name="connsiteY50" fmla="*/ 76424 h 191059"/>
                <a:gd name="connsiteX51" fmla="*/ 206345 w 313338"/>
                <a:gd name="connsiteY51" fmla="*/ 76424 h 191059"/>
                <a:gd name="connsiteX52" fmla="*/ 206345 w 313338"/>
                <a:gd name="connsiteY52" fmla="*/ 106993 h 191059"/>
                <a:gd name="connsiteX53" fmla="*/ 114636 w 313338"/>
                <a:gd name="connsiteY53" fmla="*/ 106993 h 191059"/>
                <a:gd name="connsiteX54" fmla="*/ 99351 w 313338"/>
                <a:gd name="connsiteY54" fmla="*/ 122278 h 191059"/>
                <a:gd name="connsiteX55" fmla="*/ 267484 w 313338"/>
                <a:gd name="connsiteY55" fmla="*/ 114636 h 191059"/>
                <a:gd name="connsiteX56" fmla="*/ 259841 w 313338"/>
                <a:gd name="connsiteY56" fmla="*/ 122278 h 191059"/>
                <a:gd name="connsiteX57" fmla="*/ 229272 w 313338"/>
                <a:gd name="connsiteY57" fmla="*/ 122278 h 191059"/>
                <a:gd name="connsiteX58" fmla="*/ 221629 w 313338"/>
                <a:gd name="connsiteY58" fmla="*/ 114636 h 191059"/>
                <a:gd name="connsiteX59" fmla="*/ 221629 w 313338"/>
                <a:gd name="connsiteY59" fmla="*/ 68781 h 191059"/>
                <a:gd name="connsiteX60" fmla="*/ 229272 w 313338"/>
                <a:gd name="connsiteY60" fmla="*/ 61139 h 191059"/>
                <a:gd name="connsiteX61" fmla="*/ 259841 w 313338"/>
                <a:gd name="connsiteY61" fmla="*/ 61139 h 191059"/>
                <a:gd name="connsiteX62" fmla="*/ 267484 w 313338"/>
                <a:gd name="connsiteY62" fmla="*/ 68781 h 191059"/>
                <a:gd name="connsiteX63" fmla="*/ 267484 w 313338"/>
                <a:gd name="connsiteY63" fmla="*/ 114636 h 191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13338" h="191059">
                  <a:moveTo>
                    <a:pt x="313338" y="76424"/>
                  </a:moveTo>
                  <a:lnTo>
                    <a:pt x="313338" y="61139"/>
                  </a:lnTo>
                  <a:lnTo>
                    <a:pt x="281362" y="61139"/>
                  </a:lnTo>
                  <a:cubicBezTo>
                    <a:pt x="278198" y="52266"/>
                    <a:pt x="269792" y="45854"/>
                    <a:pt x="259841" y="45854"/>
                  </a:cubicBezTo>
                  <a:lnTo>
                    <a:pt x="229272" y="45854"/>
                  </a:lnTo>
                  <a:cubicBezTo>
                    <a:pt x="219321" y="45854"/>
                    <a:pt x="210915" y="52266"/>
                    <a:pt x="207751" y="61139"/>
                  </a:cubicBezTo>
                  <a:lnTo>
                    <a:pt x="168133" y="61139"/>
                  </a:lnTo>
                  <a:lnTo>
                    <a:pt x="168133" y="38212"/>
                  </a:lnTo>
                  <a:cubicBezTo>
                    <a:pt x="168133" y="17142"/>
                    <a:pt x="150991" y="0"/>
                    <a:pt x="129921" y="0"/>
                  </a:cubicBezTo>
                  <a:lnTo>
                    <a:pt x="22927" y="0"/>
                  </a:lnTo>
                  <a:cubicBezTo>
                    <a:pt x="10287" y="0"/>
                    <a:pt x="0" y="10287"/>
                    <a:pt x="0" y="22927"/>
                  </a:cubicBezTo>
                  <a:cubicBezTo>
                    <a:pt x="0" y="35568"/>
                    <a:pt x="10287" y="45854"/>
                    <a:pt x="22927" y="45854"/>
                  </a:cubicBezTo>
                  <a:lnTo>
                    <a:pt x="106993" y="45854"/>
                  </a:lnTo>
                  <a:lnTo>
                    <a:pt x="106993" y="61139"/>
                  </a:lnTo>
                  <a:lnTo>
                    <a:pt x="91709" y="61139"/>
                  </a:lnTo>
                  <a:cubicBezTo>
                    <a:pt x="70639" y="61139"/>
                    <a:pt x="53497" y="78281"/>
                    <a:pt x="53497" y="99351"/>
                  </a:cubicBezTo>
                  <a:lnTo>
                    <a:pt x="53497" y="191060"/>
                  </a:lnTo>
                  <a:lnTo>
                    <a:pt x="114636" y="191060"/>
                  </a:lnTo>
                  <a:lnTo>
                    <a:pt x="114636" y="122278"/>
                  </a:lnTo>
                  <a:lnTo>
                    <a:pt x="207751" y="122278"/>
                  </a:lnTo>
                  <a:cubicBezTo>
                    <a:pt x="210915" y="131151"/>
                    <a:pt x="219321" y="137563"/>
                    <a:pt x="229272" y="137563"/>
                  </a:cubicBezTo>
                  <a:lnTo>
                    <a:pt x="259841" y="137563"/>
                  </a:lnTo>
                  <a:cubicBezTo>
                    <a:pt x="269792" y="137563"/>
                    <a:pt x="278198" y="131151"/>
                    <a:pt x="281362" y="122278"/>
                  </a:cubicBezTo>
                  <a:lnTo>
                    <a:pt x="313338" y="122278"/>
                  </a:lnTo>
                  <a:lnTo>
                    <a:pt x="313338" y="106993"/>
                  </a:lnTo>
                  <a:lnTo>
                    <a:pt x="282768" y="106993"/>
                  </a:lnTo>
                  <a:lnTo>
                    <a:pt x="282768" y="76424"/>
                  </a:lnTo>
                  <a:lnTo>
                    <a:pt x="313338" y="76424"/>
                  </a:lnTo>
                  <a:close/>
                  <a:moveTo>
                    <a:pt x="22927" y="30570"/>
                  </a:moveTo>
                  <a:cubicBezTo>
                    <a:pt x="18709" y="30570"/>
                    <a:pt x="15285" y="27146"/>
                    <a:pt x="15285" y="22927"/>
                  </a:cubicBezTo>
                  <a:cubicBezTo>
                    <a:pt x="15285" y="18709"/>
                    <a:pt x="18709" y="15285"/>
                    <a:pt x="22927" y="15285"/>
                  </a:cubicBezTo>
                  <a:lnTo>
                    <a:pt x="129921" y="15285"/>
                  </a:lnTo>
                  <a:cubicBezTo>
                    <a:pt x="142561" y="15285"/>
                    <a:pt x="152848" y="25571"/>
                    <a:pt x="152848" y="38212"/>
                  </a:cubicBezTo>
                  <a:lnTo>
                    <a:pt x="152848" y="45854"/>
                  </a:lnTo>
                  <a:lnTo>
                    <a:pt x="122278" y="45854"/>
                  </a:lnTo>
                  <a:lnTo>
                    <a:pt x="122278" y="30570"/>
                  </a:lnTo>
                  <a:lnTo>
                    <a:pt x="22927" y="30570"/>
                  </a:lnTo>
                  <a:close/>
                  <a:moveTo>
                    <a:pt x="68782" y="175775"/>
                  </a:moveTo>
                  <a:lnTo>
                    <a:pt x="68782" y="160490"/>
                  </a:lnTo>
                  <a:lnTo>
                    <a:pt x="99351" y="160490"/>
                  </a:lnTo>
                  <a:lnTo>
                    <a:pt x="99351" y="175775"/>
                  </a:lnTo>
                  <a:lnTo>
                    <a:pt x="68782" y="175775"/>
                  </a:lnTo>
                  <a:close/>
                  <a:moveTo>
                    <a:pt x="99351" y="122278"/>
                  </a:moveTo>
                  <a:lnTo>
                    <a:pt x="99351" y="145205"/>
                  </a:lnTo>
                  <a:lnTo>
                    <a:pt x="68782" y="145205"/>
                  </a:lnTo>
                  <a:lnTo>
                    <a:pt x="68782" y="99351"/>
                  </a:lnTo>
                  <a:cubicBezTo>
                    <a:pt x="68782" y="86711"/>
                    <a:pt x="79068" y="76424"/>
                    <a:pt x="91709" y="76424"/>
                  </a:cubicBezTo>
                  <a:lnTo>
                    <a:pt x="122278" y="76424"/>
                  </a:lnTo>
                  <a:lnTo>
                    <a:pt x="122278" y="61139"/>
                  </a:lnTo>
                  <a:lnTo>
                    <a:pt x="152848" y="61139"/>
                  </a:lnTo>
                  <a:lnTo>
                    <a:pt x="152848" y="76424"/>
                  </a:lnTo>
                  <a:lnTo>
                    <a:pt x="206345" y="76424"/>
                  </a:lnTo>
                  <a:lnTo>
                    <a:pt x="206345" y="106993"/>
                  </a:lnTo>
                  <a:lnTo>
                    <a:pt x="114636" y="106993"/>
                  </a:lnTo>
                  <a:cubicBezTo>
                    <a:pt x="106206" y="106993"/>
                    <a:pt x="99351" y="113849"/>
                    <a:pt x="99351" y="122278"/>
                  </a:cubicBezTo>
                  <a:close/>
                  <a:moveTo>
                    <a:pt x="267484" y="114636"/>
                  </a:moveTo>
                  <a:cubicBezTo>
                    <a:pt x="267484" y="118854"/>
                    <a:pt x="264060" y="122278"/>
                    <a:pt x="259841" y="122278"/>
                  </a:cubicBezTo>
                  <a:lnTo>
                    <a:pt x="229272" y="122278"/>
                  </a:lnTo>
                  <a:cubicBezTo>
                    <a:pt x="225053" y="122278"/>
                    <a:pt x="221629" y="118854"/>
                    <a:pt x="221629" y="114636"/>
                  </a:cubicBezTo>
                  <a:lnTo>
                    <a:pt x="221629" y="68781"/>
                  </a:lnTo>
                  <a:cubicBezTo>
                    <a:pt x="221629" y="64563"/>
                    <a:pt x="225053" y="61139"/>
                    <a:pt x="229272" y="61139"/>
                  </a:cubicBezTo>
                  <a:lnTo>
                    <a:pt x="259841" y="61139"/>
                  </a:lnTo>
                  <a:cubicBezTo>
                    <a:pt x="264060" y="61139"/>
                    <a:pt x="267484" y="64563"/>
                    <a:pt x="267484" y="68781"/>
                  </a:cubicBezTo>
                  <a:lnTo>
                    <a:pt x="267484" y="114636"/>
                  </a:ln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Freeform: Shape 50">
              <a:extLst>
                <a:ext uri="{FF2B5EF4-FFF2-40B4-BE49-F238E27FC236}">
                  <a16:creationId xmlns:a16="http://schemas.microsoft.com/office/drawing/2014/main" id="{45CF6E06-19B5-4D50-6D67-3BBD464ED53B}"/>
                </a:ext>
              </a:extLst>
            </p:cNvPr>
            <p:cNvSpPr/>
            <p:nvPr/>
          </p:nvSpPr>
          <p:spPr>
            <a:xfrm>
              <a:off x="9794945" y="3926066"/>
              <a:ext cx="15284" cy="30569"/>
            </a:xfrm>
            <a:custGeom>
              <a:avLst/>
              <a:gdLst>
                <a:gd name="connsiteX0" fmla="*/ 0 w 15284"/>
                <a:gd name="connsiteY0" fmla="*/ 0 h 30569"/>
                <a:gd name="connsiteX1" fmla="*/ 15285 w 15284"/>
                <a:gd name="connsiteY1" fmla="*/ 0 h 30569"/>
                <a:gd name="connsiteX2" fmla="*/ 15285 w 15284"/>
                <a:gd name="connsiteY2" fmla="*/ 30570 h 30569"/>
                <a:gd name="connsiteX3" fmla="*/ 0 w 15284"/>
                <a:gd name="connsiteY3" fmla="*/ 30570 h 30569"/>
              </a:gdLst>
              <a:ahLst/>
              <a:cxnLst>
                <a:cxn ang="0">
                  <a:pos x="connsiteX0" y="connsiteY0"/>
                </a:cxn>
                <a:cxn ang="0">
                  <a:pos x="connsiteX1" y="connsiteY1"/>
                </a:cxn>
                <a:cxn ang="0">
                  <a:pos x="connsiteX2" y="connsiteY2"/>
                </a:cxn>
                <a:cxn ang="0">
                  <a:pos x="connsiteX3" y="connsiteY3"/>
                </a:cxn>
              </a:cxnLst>
              <a:rect l="l" t="t" r="r" b="b"/>
              <a:pathLst>
                <a:path w="15284" h="30569">
                  <a:moveTo>
                    <a:pt x="0" y="0"/>
                  </a:moveTo>
                  <a:lnTo>
                    <a:pt x="15285" y="0"/>
                  </a:lnTo>
                  <a:lnTo>
                    <a:pt x="15285" y="30570"/>
                  </a:lnTo>
                  <a:lnTo>
                    <a:pt x="0" y="30570"/>
                  </a:lnTo>
                  <a:close/>
                </a:path>
              </a:pathLst>
            </a:custGeom>
            <a:grpFill/>
            <a:ln w="75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52" name="Rectangle 51">
            <a:extLst>
              <a:ext uri="{FF2B5EF4-FFF2-40B4-BE49-F238E27FC236}">
                <a16:creationId xmlns:a16="http://schemas.microsoft.com/office/drawing/2014/main" id="{EC96DB81-1786-960A-1072-4C567E51AE90}"/>
              </a:ext>
            </a:extLst>
          </p:cNvPr>
          <p:cNvSpPr/>
          <p:nvPr/>
        </p:nvSpPr>
        <p:spPr>
          <a:xfrm>
            <a:off x="4111480" y="3715591"/>
            <a:ext cx="123682" cy="104428"/>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3" name="Arrow: Chevron 52">
            <a:extLst>
              <a:ext uri="{FF2B5EF4-FFF2-40B4-BE49-F238E27FC236}">
                <a16:creationId xmlns:a16="http://schemas.microsoft.com/office/drawing/2014/main" id="{3DA1CDA1-0770-AA76-D175-A0EB70D2C5D6}"/>
              </a:ext>
            </a:extLst>
          </p:cNvPr>
          <p:cNvSpPr/>
          <p:nvPr/>
        </p:nvSpPr>
        <p:spPr>
          <a:xfrm>
            <a:off x="8169623" y="312714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54" name="Arrow: Chevron 53">
            <a:extLst>
              <a:ext uri="{FF2B5EF4-FFF2-40B4-BE49-F238E27FC236}">
                <a16:creationId xmlns:a16="http://schemas.microsoft.com/office/drawing/2014/main" id="{7B1C90AD-EA4E-8C03-6524-05D720AD68B7}"/>
              </a:ext>
            </a:extLst>
          </p:cNvPr>
          <p:cNvSpPr/>
          <p:nvPr/>
        </p:nvSpPr>
        <p:spPr>
          <a:xfrm flipH="1">
            <a:off x="7912784" y="3127145"/>
            <a:ext cx="219241" cy="586867"/>
          </a:xfrm>
          <a:prstGeom prst="chevron">
            <a:avLst/>
          </a:prstGeom>
          <a:solidFill>
            <a:srgbClr val="B2D23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55" name="Rectangle 54">
            <a:extLst>
              <a:ext uri="{FF2B5EF4-FFF2-40B4-BE49-F238E27FC236}">
                <a16:creationId xmlns:a16="http://schemas.microsoft.com/office/drawing/2014/main" id="{BCD03AA8-CDB2-0513-AE47-CD2B1A126045}"/>
              </a:ext>
            </a:extLst>
          </p:cNvPr>
          <p:cNvSpPr/>
          <p:nvPr/>
        </p:nvSpPr>
        <p:spPr>
          <a:xfrm>
            <a:off x="8181424" y="3715591"/>
            <a:ext cx="123682" cy="104428"/>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56" name="Graphic 55" descr="Fuel outline">
            <a:extLst>
              <a:ext uri="{FF2B5EF4-FFF2-40B4-BE49-F238E27FC236}">
                <a16:creationId xmlns:a16="http://schemas.microsoft.com/office/drawing/2014/main" id="{462D9B11-93BD-11D9-5E5A-D09E55969E5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84593" y="2570471"/>
            <a:ext cx="511983" cy="511983"/>
          </a:xfrm>
          <a:prstGeom prst="rect">
            <a:avLst/>
          </a:prstGeom>
        </p:spPr>
      </p:pic>
      <p:pic>
        <p:nvPicPr>
          <p:cNvPr id="57" name="Graphic 56" descr="Crystals outline">
            <a:extLst>
              <a:ext uri="{FF2B5EF4-FFF2-40B4-BE49-F238E27FC236}">
                <a16:creationId xmlns:a16="http://schemas.microsoft.com/office/drawing/2014/main" id="{D449D54D-B4A9-D94D-3FE0-4F4F006CEBC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38486" y="3391235"/>
            <a:ext cx="427291" cy="427291"/>
          </a:xfrm>
          <a:prstGeom prst="rect">
            <a:avLst/>
          </a:prstGeom>
        </p:spPr>
      </p:pic>
      <p:pic>
        <p:nvPicPr>
          <p:cNvPr id="58" name="Graphic 57" descr="Battery charging outline">
            <a:extLst>
              <a:ext uri="{FF2B5EF4-FFF2-40B4-BE49-F238E27FC236}">
                <a16:creationId xmlns:a16="http://schemas.microsoft.com/office/drawing/2014/main" id="{28214691-A537-566E-C1DA-C77543A2A26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593755" y="3333966"/>
            <a:ext cx="597953" cy="597953"/>
          </a:xfrm>
          <a:prstGeom prst="rect">
            <a:avLst/>
          </a:prstGeom>
        </p:spPr>
      </p:pic>
      <p:sp>
        <p:nvSpPr>
          <p:cNvPr id="59" name="Footer Placeholder 2">
            <a:extLst>
              <a:ext uri="{FF2B5EF4-FFF2-40B4-BE49-F238E27FC236}">
                <a16:creationId xmlns:a16="http://schemas.microsoft.com/office/drawing/2014/main" id="{44F79803-DF60-77CD-EDC2-024E37853CED}"/>
              </a:ext>
            </a:extLst>
          </p:cNvPr>
          <p:cNvSpPr>
            <a:spLocks noGrp="1"/>
          </p:cNvSpPr>
          <p:nvPr>
            <p:ph type="ftr" sz="quarter" idx="11"/>
          </p:nvPr>
        </p:nvSpPr>
        <p:spPr>
          <a:xfrm>
            <a:off x="642796" y="6302335"/>
            <a:ext cx="9463189" cy="374690"/>
          </a:xfrm>
        </p:spPr>
        <p:txBody>
          <a:bodyPr/>
          <a:lstStyle/>
          <a:p>
            <a:r>
              <a:rPr lang="en-US" dirty="0"/>
              <a:t>Adapted from: IRP Co-Chairs (2022). Making climate targets achievable: improving wellbeing through reduced absolute resource use. Potočnik, J., Teixeira, I. An opinion piece of the International Resource Panel Co-Chairs (supported by Systemiq)</a:t>
            </a:r>
          </a:p>
        </p:txBody>
      </p:sp>
      <p:sp>
        <p:nvSpPr>
          <p:cNvPr id="78" name="Rectangle 77">
            <a:extLst>
              <a:ext uri="{FF2B5EF4-FFF2-40B4-BE49-F238E27FC236}">
                <a16:creationId xmlns:a16="http://schemas.microsoft.com/office/drawing/2014/main" id="{09163071-2AC7-FD3D-2968-B3D0D10A9DEB}"/>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1306317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E40196-56CC-1C67-F285-AC48CED271E4}"/>
              </a:ext>
            </a:extLst>
          </p:cNvPr>
          <p:cNvGraphicFramePr>
            <a:graphicFrameLocks noChangeAspect="1"/>
          </p:cNvGraphicFramePr>
          <p:nvPr>
            <p:custDataLst>
              <p:tags r:id="rId1"/>
            </p:custDataLst>
            <p:extLst>
              <p:ext uri="{D42A27DB-BD31-4B8C-83A1-F6EECF244321}">
                <p14:modId xmlns:p14="http://schemas.microsoft.com/office/powerpoint/2010/main" val="388317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282" imgH="254" progId="TCLayout.ActiveDocument.1">
                  <p:embed/>
                </p:oleObj>
              </mc:Choice>
              <mc:Fallback>
                <p:oleObj name="think-cell Slide" r:id="rId21" imgW="282" imgH="254" progId="TCLayout.ActiveDocument.1">
                  <p:embed/>
                  <p:pic>
                    <p:nvPicPr>
                      <p:cNvPr id="7" name="think-cell data - do not delete" hidden="1">
                        <a:extLst>
                          <a:ext uri="{FF2B5EF4-FFF2-40B4-BE49-F238E27FC236}">
                            <a16:creationId xmlns:a16="http://schemas.microsoft.com/office/drawing/2014/main" id="{A2E40196-56CC-1C67-F285-AC48CED271E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E1A9258-80A1-4455-21F7-220169B35E86}"/>
              </a:ext>
            </a:extLst>
          </p:cNvPr>
          <p:cNvSpPr>
            <a:spLocks noGrp="1"/>
          </p:cNvSpPr>
          <p:nvPr>
            <p:ph type="title"/>
          </p:nvPr>
        </p:nvSpPr>
        <p:spPr/>
        <p:txBody>
          <a:bodyPr vert="horz">
            <a:normAutofit fontScale="90000"/>
          </a:bodyPr>
          <a:lstStyle/>
          <a:p>
            <a:r>
              <a:rPr lang="en-US" dirty="0"/>
              <a:t>Major provisioning systems have different material footprint breakdowns: nutrition mainly biomass, household energy mainly fossil fuels</a:t>
            </a:r>
            <a:endParaRPr lang="en-GB" dirty="0"/>
          </a:p>
        </p:txBody>
      </p:sp>
      <p:sp>
        <p:nvSpPr>
          <p:cNvPr id="6" name="Text Placeholder 5">
            <a:extLst>
              <a:ext uri="{FF2B5EF4-FFF2-40B4-BE49-F238E27FC236}">
                <a16:creationId xmlns:a16="http://schemas.microsoft.com/office/drawing/2014/main" id="{3749B057-DFC0-0ADC-3A17-796C3F344CAA}"/>
              </a:ext>
            </a:extLst>
          </p:cNvPr>
          <p:cNvSpPr>
            <a:spLocks noGrp="1"/>
          </p:cNvSpPr>
          <p:nvPr>
            <p:ph type="body" sz="quarter" idx="13"/>
          </p:nvPr>
        </p:nvSpPr>
        <p:spPr>
          <a:xfrm>
            <a:off x="772104" y="6318940"/>
            <a:ext cx="9463189" cy="359672"/>
          </a:xfrm>
        </p:spPr>
        <p:txBody>
          <a:bodyPr/>
          <a:lstStyle/>
          <a:p>
            <a:r>
              <a:rPr kumimoji="0" lang="en-GB" sz="1000" b="0" i="0" u="none" strike="noStrike" kern="1200" cap="none" spc="0" normalizeH="0" baseline="0" noProof="0" dirty="0">
                <a:ln>
                  <a:noFill/>
                </a:ln>
                <a:solidFill>
                  <a:srgbClr val="000000">
                    <a:tint val="75000"/>
                  </a:srgbClr>
                </a:solidFill>
                <a:effectLst/>
                <a:uLnTx/>
                <a:uFillTx/>
                <a:latin typeface="Century Gothic"/>
                <a:ea typeface="+mn-ea"/>
                <a:cs typeface="+mn-cs"/>
              </a:rPr>
              <a:t>Source: International Resource Panel, Global Resources Outlook 2024 (https://www.resourcepanel.org/reports/global-resources-outlook-2024)</a:t>
            </a:r>
          </a:p>
        </p:txBody>
      </p:sp>
      <p:graphicFrame>
        <p:nvGraphicFramePr>
          <p:cNvPr id="42" name="Chart 41">
            <a:extLst>
              <a:ext uri="{FF2B5EF4-FFF2-40B4-BE49-F238E27FC236}">
                <a16:creationId xmlns:a16="http://schemas.microsoft.com/office/drawing/2014/main" id="{DAA35D22-B4C7-74C7-2B6E-B9BE073CF89C}"/>
              </a:ext>
            </a:extLst>
          </p:cNvPr>
          <p:cNvGraphicFramePr/>
          <p:nvPr>
            <p:custDataLst>
              <p:tags r:id="rId2"/>
            </p:custDataLst>
            <p:extLst>
              <p:ext uri="{D42A27DB-BD31-4B8C-83A1-F6EECF244321}">
                <p14:modId xmlns:p14="http://schemas.microsoft.com/office/powerpoint/2010/main" val="3850406721"/>
              </p:ext>
            </p:extLst>
          </p:nvPr>
        </p:nvGraphicFramePr>
        <p:xfrm>
          <a:off x="2438400" y="1873250"/>
          <a:ext cx="7364413" cy="3673475"/>
        </p:xfrm>
        <a:graphic>
          <a:graphicData uri="http://schemas.openxmlformats.org/drawingml/2006/chart">
            <c:chart xmlns:c="http://schemas.openxmlformats.org/drawingml/2006/chart" xmlns:r="http://schemas.openxmlformats.org/officeDocument/2006/relationships" r:id="rId23"/>
          </a:graphicData>
        </a:graphic>
      </p:graphicFrame>
      <p:cxnSp>
        <p:nvCxnSpPr>
          <p:cNvPr id="15" name="Straight Connector 14">
            <a:extLst>
              <a:ext uri="{FF2B5EF4-FFF2-40B4-BE49-F238E27FC236}">
                <a16:creationId xmlns:a16="http://schemas.microsoft.com/office/drawing/2014/main" id="{D41D5F47-86B2-57CB-E596-E92F50D6A915}"/>
              </a:ext>
            </a:extLst>
          </p:cNvPr>
          <p:cNvCxnSpPr/>
          <p:nvPr>
            <p:custDataLst>
              <p:tags r:id="rId3"/>
            </p:custDataLst>
          </p:nvPr>
        </p:nvCxnSpPr>
        <p:spPr bwMode="auto">
          <a:xfrm>
            <a:off x="2803525" y="4632325"/>
            <a:ext cx="79375" cy="2095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BFF58FA-B9F9-E9AF-BF4F-2B64461D83C6}"/>
              </a:ext>
            </a:extLst>
          </p:cNvPr>
          <p:cNvCxnSpPr>
            <a:cxnSpLocks/>
          </p:cNvCxnSpPr>
          <p:nvPr>
            <p:custDataLst>
              <p:tags r:id="rId4"/>
            </p:custDataLst>
          </p:nvPr>
        </p:nvCxnSpPr>
        <p:spPr bwMode="auto">
          <a:xfrm>
            <a:off x="2803525" y="4875213"/>
            <a:ext cx="79375" cy="730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Text Placeholder 2">
            <a:extLst>
              <a:ext uri="{FF2B5EF4-FFF2-40B4-BE49-F238E27FC236}">
                <a16:creationId xmlns:a16="http://schemas.microsoft.com/office/drawing/2014/main" id="{91B5E13A-1B40-CB6E-35C1-DCC6BFCFF042}"/>
              </a:ext>
            </a:extLst>
          </p:cNvPr>
          <p:cNvSpPr>
            <a:spLocks noGrp="1"/>
          </p:cNvSpPr>
          <p:nvPr>
            <p:custDataLst>
              <p:tags r:id="rId5"/>
            </p:custDataLst>
          </p:nvPr>
        </p:nvSpPr>
        <p:spPr bwMode="gray">
          <a:xfrm>
            <a:off x="3529013" y="4852988"/>
            <a:ext cx="287338" cy="192088"/>
          </a:xfrm>
          <a:prstGeom prst="rect">
            <a:avLst/>
          </a:prstGeom>
          <a:solidFill>
            <a:schemeClr val="accent5"/>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2088E9-DF3D-4755-89B3-F0A5B323E8E9}" type="datetime'''''''''''''''''''''''''''''''''''''1''''''%'''''''''''">
              <a:rPr lang="en-GB" altLang="en-US" sz="1400" smtClean="0">
                <a:solidFill>
                  <a:schemeClr val="bg1"/>
                </a:solidFill>
                <a:effectLst/>
              </a:rPr>
              <a:pPr/>
              <a:t>1%</a:t>
            </a:fld>
            <a:endParaRPr lang="en-GB" sz="1400" noProof="0">
              <a:solidFill>
                <a:schemeClr val="bg1"/>
              </a:solidFill>
            </a:endParaRPr>
          </a:p>
        </p:txBody>
      </p:sp>
      <p:sp>
        <p:nvSpPr>
          <p:cNvPr id="18" name="Text Placeholder 2">
            <a:extLst>
              <a:ext uri="{FF2B5EF4-FFF2-40B4-BE49-F238E27FC236}">
                <a16:creationId xmlns:a16="http://schemas.microsoft.com/office/drawing/2014/main" id="{7FB97BDB-7F59-C6B7-2BAE-0A4E0B29C62F}"/>
              </a:ext>
            </a:extLst>
          </p:cNvPr>
          <p:cNvSpPr>
            <a:spLocks noGrp="1"/>
          </p:cNvSpPr>
          <p:nvPr>
            <p:custDataLst>
              <p:tags r:id="rId6"/>
            </p:custDataLst>
          </p:nvPr>
        </p:nvSpPr>
        <p:spPr bwMode="auto">
          <a:xfrm>
            <a:off x="2627313" y="5299075"/>
            <a:ext cx="15875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5918DA-5981-4793-9971-354EFA69A26C}" type="datetime'F''oo''d a''nd ''''nut''''''r''''''''it''''''io''n'''''''">
              <a:rPr lang="en-GB" altLang="en-US" sz="1400" smtClean="0"/>
              <a:pPr/>
              <a:t>Food and nutrition</a:t>
            </a:fld>
            <a:endParaRPr lang="en-GB" sz="1400" noProof="0"/>
          </a:p>
        </p:txBody>
      </p:sp>
      <p:sp>
        <p:nvSpPr>
          <p:cNvPr id="19" name="Text Placeholder 2">
            <a:extLst>
              <a:ext uri="{FF2B5EF4-FFF2-40B4-BE49-F238E27FC236}">
                <a16:creationId xmlns:a16="http://schemas.microsoft.com/office/drawing/2014/main" id="{383EC414-49CD-81F7-D1F7-6F367849E53C}"/>
              </a:ext>
            </a:extLst>
          </p:cNvPr>
          <p:cNvSpPr>
            <a:spLocks noGrp="1"/>
          </p:cNvSpPr>
          <p:nvPr>
            <p:custDataLst>
              <p:tags r:id="rId7"/>
            </p:custDataLst>
          </p:nvPr>
        </p:nvSpPr>
        <p:spPr bwMode="gray">
          <a:xfrm>
            <a:off x="5078413" y="2144713"/>
            <a:ext cx="287338" cy="192088"/>
          </a:xfrm>
          <a:prstGeom prst="rect">
            <a:avLst/>
          </a:prstGeom>
          <a:solidFill>
            <a:srgbClr val="71B561"/>
          </a:solidFill>
          <a:ln>
            <a:noFill/>
          </a:ln>
          <a:effectLst/>
        </p:spPr>
        <p:txBody>
          <a:bodyPr vert="horz" wrap="none" lIns="25400" tIns="0" rIns="2540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CEB3FD-B7FF-4095-B507-CE0D71BCF7C5}" type="datetime'''''4''%'''''''''''''''''''''">
              <a:rPr lang="en-GB" altLang="en-US" sz="1400" smtClean="0">
                <a:effectLst/>
              </a:rPr>
              <a:pPr/>
              <a:t>4%</a:t>
            </a:fld>
            <a:endParaRPr lang="en-GB" sz="1400" noProof="0"/>
          </a:p>
        </p:txBody>
      </p:sp>
      <p:sp>
        <p:nvSpPr>
          <p:cNvPr id="20" name="Text Placeholder 2">
            <a:extLst>
              <a:ext uri="{FF2B5EF4-FFF2-40B4-BE49-F238E27FC236}">
                <a16:creationId xmlns:a16="http://schemas.microsoft.com/office/drawing/2014/main" id="{E86AE572-9235-EA30-D285-A31CFF8ADFEA}"/>
              </a:ext>
            </a:extLst>
          </p:cNvPr>
          <p:cNvSpPr>
            <a:spLocks noGrp="1"/>
          </p:cNvSpPr>
          <p:nvPr>
            <p:custDataLst>
              <p:tags r:id="rId8"/>
            </p:custDataLst>
          </p:nvPr>
        </p:nvSpPr>
        <p:spPr bwMode="auto">
          <a:xfrm>
            <a:off x="4884738" y="5299075"/>
            <a:ext cx="6731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D95F97-DEB3-4E37-BC55-624BF01756CA}" type="datetime'''''''Mob''''''''''''''i''''l''''''''''i''''''''t''''y'">
              <a:rPr lang="en-GB" altLang="en-US" sz="1400" smtClean="0"/>
              <a:pPr/>
              <a:t>Mobility</a:t>
            </a:fld>
            <a:endParaRPr lang="en-GB" sz="1400" noProof="0"/>
          </a:p>
        </p:txBody>
      </p:sp>
      <p:sp>
        <p:nvSpPr>
          <p:cNvPr id="21" name="Text Placeholder 2">
            <a:extLst>
              <a:ext uri="{FF2B5EF4-FFF2-40B4-BE49-F238E27FC236}">
                <a16:creationId xmlns:a16="http://schemas.microsoft.com/office/drawing/2014/main" id="{1FCDD630-89BF-7570-F152-56FD7C37E5BF}"/>
              </a:ext>
            </a:extLst>
          </p:cNvPr>
          <p:cNvSpPr>
            <a:spLocks noGrp="1"/>
          </p:cNvSpPr>
          <p:nvPr>
            <p:custDataLst>
              <p:tags r:id="rId9"/>
            </p:custDataLst>
          </p:nvPr>
        </p:nvSpPr>
        <p:spPr bwMode="auto">
          <a:xfrm>
            <a:off x="6276975" y="5299075"/>
            <a:ext cx="1487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CB80BA-9FD4-44DF-BC7D-383BEF108A05}" type="datetime'''''Bu''''''''i''''l''''''''t'''' en''v''ironme''n''''t'''''''">
              <a:rPr lang="en-GB" altLang="en-US" sz="1400" smtClean="0"/>
              <a:pPr/>
              <a:t>Built environment</a:t>
            </a:fld>
            <a:endParaRPr lang="en-GB" sz="1400" noProof="0"/>
          </a:p>
        </p:txBody>
      </p:sp>
      <p:sp>
        <p:nvSpPr>
          <p:cNvPr id="22" name="Text Placeholder 2">
            <a:extLst>
              <a:ext uri="{FF2B5EF4-FFF2-40B4-BE49-F238E27FC236}">
                <a16:creationId xmlns:a16="http://schemas.microsoft.com/office/drawing/2014/main" id="{7AFCC25F-4D2B-4BEC-67A4-3B97226BDCC9}"/>
              </a:ext>
            </a:extLst>
          </p:cNvPr>
          <p:cNvSpPr>
            <a:spLocks noGrp="1"/>
          </p:cNvSpPr>
          <p:nvPr>
            <p:custDataLst>
              <p:tags r:id="rId10"/>
            </p:custDataLst>
          </p:nvPr>
        </p:nvSpPr>
        <p:spPr bwMode="auto">
          <a:xfrm>
            <a:off x="8029575" y="5299075"/>
            <a:ext cx="15811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B8150D-94C7-47BB-AE1B-EC21448D17C2}" type="datetime'Ho''u''''''s''''e''h''''''o''''l''d'''' ''''''en''er''gy'''''">
              <a:rPr lang="en-GB" altLang="en-US" sz="1400" smtClean="0"/>
              <a:pPr/>
              <a:t>Household energy</a:t>
            </a:fld>
            <a:endParaRPr lang="en-GB" sz="1400" noProof="0"/>
          </a:p>
        </p:txBody>
      </p:sp>
      <p:sp>
        <p:nvSpPr>
          <p:cNvPr id="23" name="Text Placeholder 2">
            <a:extLst>
              <a:ext uri="{FF2B5EF4-FFF2-40B4-BE49-F238E27FC236}">
                <a16:creationId xmlns:a16="http://schemas.microsoft.com/office/drawing/2014/main" id="{77EFD4AD-DA8A-F1A8-5C96-DB8CEB13C353}"/>
              </a:ext>
            </a:extLst>
          </p:cNvPr>
          <p:cNvSpPr>
            <a:spLocks noGrp="1"/>
          </p:cNvSpPr>
          <p:nvPr>
            <p:custDataLst>
              <p:tags r:id="rId11"/>
            </p:custDataLst>
          </p:nvPr>
        </p:nvSpPr>
        <p:spPr bwMode="auto">
          <a:xfrm>
            <a:off x="2100263" y="3370263"/>
            <a:ext cx="6778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378016-9001-43CF-AE87-BACCA23468EE}" type="datetime'B''''''''''''''i''''''''''o''''ma''''s''s'''''''">
              <a:rPr lang="en-GB" altLang="en-US" sz="1400" smtClean="0"/>
              <a:pPr/>
              <a:t>Biomass</a:t>
            </a:fld>
            <a:endParaRPr lang="en-GB" sz="1400" noProof="0"/>
          </a:p>
        </p:txBody>
      </p:sp>
      <p:sp>
        <p:nvSpPr>
          <p:cNvPr id="24" name="Text Placeholder 2">
            <a:extLst>
              <a:ext uri="{FF2B5EF4-FFF2-40B4-BE49-F238E27FC236}">
                <a16:creationId xmlns:a16="http://schemas.microsoft.com/office/drawing/2014/main" id="{CAEBAE8A-0DD3-40C9-5871-70F7333DF19C}"/>
              </a:ext>
            </a:extLst>
          </p:cNvPr>
          <p:cNvSpPr>
            <a:spLocks noGrp="1"/>
          </p:cNvSpPr>
          <p:nvPr>
            <p:custDataLst>
              <p:tags r:id="rId12"/>
            </p:custDataLst>
          </p:nvPr>
        </p:nvSpPr>
        <p:spPr bwMode="auto">
          <a:xfrm>
            <a:off x="1938338" y="4537075"/>
            <a:ext cx="8397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B41247-D435-453F-950A-83E97BB0DE03}" type="datetime'''F''''''''''o''ssil'' f''''''''''''''''u''''''''''el''''s'">
              <a:rPr lang="en-GB" altLang="en-US" sz="1400" smtClean="0"/>
              <a:pPr/>
              <a:t>Fossil fuels</a:t>
            </a:fld>
            <a:endParaRPr lang="en-GB" sz="1400" noProof="0"/>
          </a:p>
        </p:txBody>
      </p:sp>
      <p:sp>
        <p:nvSpPr>
          <p:cNvPr id="25" name="Text Placeholder 2">
            <a:extLst>
              <a:ext uri="{FF2B5EF4-FFF2-40B4-BE49-F238E27FC236}">
                <a16:creationId xmlns:a16="http://schemas.microsoft.com/office/drawing/2014/main" id="{0120D49A-8534-E8D8-1DE0-BB79B7B7C8EA}"/>
              </a:ext>
            </a:extLst>
          </p:cNvPr>
          <p:cNvSpPr>
            <a:spLocks noGrp="1"/>
          </p:cNvSpPr>
          <p:nvPr>
            <p:custDataLst>
              <p:tags r:id="rId13"/>
            </p:custDataLst>
          </p:nvPr>
        </p:nvSpPr>
        <p:spPr bwMode="auto">
          <a:xfrm>
            <a:off x="1878013" y="4779963"/>
            <a:ext cx="9001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65FC5C-EAD7-474F-9ACF-077DD6FF8792}" type="datetime'''M''''''etal'''''''''' o''''''''''''''''''res'''''''''''''''">
              <a:rPr lang="en-GB" altLang="en-US" sz="1400" smtClean="0"/>
              <a:pPr/>
              <a:t>Metal ores</a:t>
            </a:fld>
            <a:endParaRPr lang="en-GB" sz="1400" noProof="0"/>
          </a:p>
        </p:txBody>
      </p:sp>
      <p:sp>
        <p:nvSpPr>
          <p:cNvPr id="26" name="Text Placeholder 2">
            <a:extLst>
              <a:ext uri="{FF2B5EF4-FFF2-40B4-BE49-F238E27FC236}">
                <a16:creationId xmlns:a16="http://schemas.microsoft.com/office/drawing/2014/main" id="{9083D8DA-BCA2-C7EC-29AA-ADE2BFBBD1A6}"/>
              </a:ext>
            </a:extLst>
          </p:cNvPr>
          <p:cNvSpPr>
            <a:spLocks noGrp="1"/>
          </p:cNvSpPr>
          <p:nvPr>
            <p:custDataLst>
              <p:tags r:id="rId14"/>
            </p:custDataLst>
          </p:nvPr>
        </p:nvSpPr>
        <p:spPr bwMode="auto">
          <a:xfrm>
            <a:off x="925513" y="5022850"/>
            <a:ext cx="1852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4D970E2-A470-4C28-97C8-0CF4F6A527F6}" type="datetime'''''N''on''-m''eta''''''ll''''''i''c ''''''m''iner''al''''s'''">
              <a:rPr lang="en-GB" altLang="en-US" sz="1400" smtClean="0"/>
              <a:pPr/>
              <a:t>Non-metallic minerals</a:t>
            </a:fld>
            <a:endParaRPr lang="en-GB" sz="1400" noProof="0"/>
          </a:p>
        </p:txBody>
      </p:sp>
      <p:sp>
        <p:nvSpPr>
          <p:cNvPr id="27" name="Text Placeholder 2">
            <a:extLst>
              <a:ext uri="{FF2B5EF4-FFF2-40B4-BE49-F238E27FC236}">
                <a16:creationId xmlns:a16="http://schemas.microsoft.com/office/drawing/2014/main" id="{3CA1D01D-BFB6-F82B-FE3B-A5F86D5B65CF}"/>
              </a:ext>
            </a:extLst>
          </p:cNvPr>
          <p:cNvSpPr>
            <a:spLocks noGrp="1"/>
          </p:cNvSpPr>
          <p:nvPr>
            <p:custDataLst>
              <p:tags r:id="rId15"/>
            </p:custDataLst>
          </p:nvPr>
        </p:nvSpPr>
        <p:spPr bwMode="gray">
          <a:xfrm>
            <a:off x="3179763" y="1952625"/>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B55E31-1F99-4495-8683-931D297A20CE}" type="datetime'''1''''''''''0''''''''''''0''''''''''%'''''''''''''''''''''">
              <a:rPr lang="en-GB" altLang="en-US" sz="1400" smtClean="0"/>
              <a:pPr/>
              <a:t>100%</a:t>
            </a:fld>
            <a:endParaRPr lang="en-GB" sz="1400" noProof="0"/>
          </a:p>
        </p:txBody>
      </p:sp>
      <p:sp>
        <p:nvSpPr>
          <p:cNvPr id="28" name="Text Placeholder 2">
            <a:extLst>
              <a:ext uri="{FF2B5EF4-FFF2-40B4-BE49-F238E27FC236}">
                <a16:creationId xmlns:a16="http://schemas.microsoft.com/office/drawing/2014/main" id="{E5D92F93-DE93-6E98-78AF-6468D1B2F232}"/>
              </a:ext>
            </a:extLst>
          </p:cNvPr>
          <p:cNvSpPr>
            <a:spLocks noGrp="1"/>
          </p:cNvSpPr>
          <p:nvPr>
            <p:custDataLst>
              <p:tags r:id="rId16"/>
            </p:custDataLst>
          </p:nvPr>
        </p:nvSpPr>
        <p:spPr bwMode="gray">
          <a:xfrm>
            <a:off x="4979988" y="1952625"/>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C5F85BE-85F5-416A-89AF-AEEEFE98DB97}" type="datetime'''''''''''''''10''''''''''''''''''''''''''''''0''%'''''''''''">
              <a:rPr lang="en-GB" altLang="en-US" sz="1400" smtClean="0"/>
              <a:pPr/>
              <a:t>100%</a:t>
            </a:fld>
            <a:endParaRPr lang="en-GB" sz="1400" noProof="0"/>
          </a:p>
        </p:txBody>
      </p:sp>
      <p:sp>
        <p:nvSpPr>
          <p:cNvPr id="29" name="Text Placeholder 2">
            <a:extLst>
              <a:ext uri="{FF2B5EF4-FFF2-40B4-BE49-F238E27FC236}">
                <a16:creationId xmlns:a16="http://schemas.microsoft.com/office/drawing/2014/main" id="{3EE5CA58-29BB-53D0-DD37-158EA1DAE0D7}"/>
              </a:ext>
            </a:extLst>
          </p:cNvPr>
          <p:cNvSpPr>
            <a:spLocks noGrp="1"/>
          </p:cNvSpPr>
          <p:nvPr>
            <p:custDataLst>
              <p:tags r:id="rId17"/>
            </p:custDataLst>
          </p:nvPr>
        </p:nvSpPr>
        <p:spPr bwMode="gray">
          <a:xfrm>
            <a:off x="6778625" y="1952625"/>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BC950F-A528-4E7E-95FB-5D46B1A9EE85}" type="datetime'1''''''''''''''''''''''''''''0''0''''''''''''''''''''''%'''">
              <a:rPr lang="en-GB" altLang="en-US" sz="1400" smtClean="0"/>
              <a:pPr/>
              <a:t>100%</a:t>
            </a:fld>
            <a:endParaRPr lang="en-GB" sz="1400" noProof="0"/>
          </a:p>
        </p:txBody>
      </p:sp>
      <p:sp>
        <p:nvSpPr>
          <p:cNvPr id="30" name="Text Placeholder 2">
            <a:extLst>
              <a:ext uri="{FF2B5EF4-FFF2-40B4-BE49-F238E27FC236}">
                <a16:creationId xmlns:a16="http://schemas.microsoft.com/office/drawing/2014/main" id="{C3D4D131-4FC7-6AD4-26F9-3732B710BC6C}"/>
              </a:ext>
            </a:extLst>
          </p:cNvPr>
          <p:cNvSpPr>
            <a:spLocks noGrp="1"/>
          </p:cNvSpPr>
          <p:nvPr>
            <p:custDataLst>
              <p:tags r:id="rId18"/>
            </p:custDataLst>
          </p:nvPr>
        </p:nvSpPr>
        <p:spPr bwMode="gray">
          <a:xfrm>
            <a:off x="8578850" y="1952625"/>
            <a:ext cx="484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000" indent="-180000" algn="l" defTabSz="914400" rtl="0" eaLnBrk="1" latinLnBrk="0" hangingPunct="1">
              <a:lnSpc>
                <a:spcPct val="90000"/>
              </a:lnSpc>
              <a:spcBef>
                <a:spcPts val="1000"/>
              </a:spcBef>
              <a:buFont typeface="Wingdings" panose="05000000000000000000" pitchFamily="2" charset="2"/>
              <a:buChar char="§"/>
              <a:defRPr sz="1600" kern="1200" baseline="0">
                <a:solidFill>
                  <a:schemeClr val="tx1"/>
                </a:solidFill>
                <a:latin typeface="+mn-lt"/>
                <a:ea typeface="+mn-ea"/>
                <a:cs typeface="+mn-cs"/>
              </a:defRPr>
            </a:lvl1pPr>
            <a:lvl2pPr marL="36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54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72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900000" indent="-18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959514-13F9-4E9E-8C6D-93B6F5E2080C}" type="datetime'''''''''''''''1''''''''0''''''''''''0''''''''''''''''''%'">
              <a:rPr lang="en-GB" altLang="en-US" sz="1400" smtClean="0"/>
              <a:pPr/>
              <a:t>100%</a:t>
            </a:fld>
            <a:endParaRPr lang="en-GB" sz="1400" noProof="0"/>
          </a:p>
        </p:txBody>
      </p:sp>
      <p:sp>
        <p:nvSpPr>
          <p:cNvPr id="31" name="TextBox 30">
            <a:extLst>
              <a:ext uri="{FF2B5EF4-FFF2-40B4-BE49-F238E27FC236}">
                <a16:creationId xmlns:a16="http://schemas.microsoft.com/office/drawing/2014/main" id="{4C7EC781-3271-1DF4-C790-5A4628954A2A}"/>
              </a:ext>
            </a:extLst>
          </p:cNvPr>
          <p:cNvSpPr txBox="1"/>
          <p:nvPr/>
        </p:nvSpPr>
        <p:spPr>
          <a:xfrm>
            <a:off x="718088" y="5885008"/>
            <a:ext cx="9930604" cy="368300"/>
          </a:xfrm>
          <a:prstGeom prst="rect">
            <a:avLst/>
          </a:prstGeom>
          <a:noFill/>
        </p:spPr>
        <p:txBody>
          <a:bodyPr wrap="square" lIns="0" tIns="0" rIns="0" bIns="0" rtlCol="0">
            <a:spAutoFit/>
          </a:bodyPr>
          <a:lstStyle/>
          <a:p>
            <a:pPr algn="l"/>
            <a:r>
              <a:rPr lang="en-GB" sz="1200" dirty="0"/>
              <a:t>(</a:t>
            </a:r>
            <a:r>
              <a:rPr lang="en-GB" sz="1200" i="1" dirty="0"/>
              <a:t>All provisioning systems include material footprints of energy embodied along their value chains; household energy solely represents energy directly used by consumers</a:t>
            </a:r>
            <a:r>
              <a:rPr lang="en-GB" sz="1200" dirty="0"/>
              <a:t>)</a:t>
            </a:r>
          </a:p>
        </p:txBody>
      </p:sp>
      <p:grpSp>
        <p:nvGrpSpPr>
          <p:cNvPr id="32" name="Group 31">
            <a:extLst>
              <a:ext uri="{FF2B5EF4-FFF2-40B4-BE49-F238E27FC236}">
                <a16:creationId xmlns:a16="http://schemas.microsoft.com/office/drawing/2014/main" id="{EBC1D3E2-FAA3-5836-02D1-61B91DCFE654}"/>
              </a:ext>
            </a:extLst>
          </p:cNvPr>
          <p:cNvGrpSpPr/>
          <p:nvPr/>
        </p:nvGrpSpPr>
        <p:grpSpPr>
          <a:xfrm>
            <a:off x="1385887" y="1485101"/>
            <a:ext cx="10050857" cy="1767886"/>
            <a:chOff x="1403181" y="1041245"/>
            <a:chExt cx="10050857" cy="1766682"/>
          </a:xfrm>
        </p:grpSpPr>
        <p:sp>
          <p:nvSpPr>
            <p:cNvPr id="33" name="Rectangle 32">
              <a:extLst>
                <a:ext uri="{FF2B5EF4-FFF2-40B4-BE49-F238E27FC236}">
                  <a16:creationId xmlns:a16="http://schemas.microsoft.com/office/drawing/2014/main" id="{E94E46BF-11B1-9B43-498B-EE3F4AEA5EAF}"/>
                </a:ext>
              </a:extLst>
            </p:cNvPr>
            <p:cNvSpPr/>
            <p:nvPr/>
          </p:nvSpPr>
          <p:spPr>
            <a:xfrm>
              <a:off x="1403181" y="1041245"/>
              <a:ext cx="1497013" cy="6139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b="1" dirty="0">
                  <a:ln>
                    <a:noFill/>
                  </a:ln>
                  <a:solidFill>
                    <a:schemeClr val="tx1"/>
                  </a:solidFill>
                </a:rPr>
                <a:t>Global material footprint (Billion tonnes) </a:t>
              </a:r>
            </a:p>
          </p:txBody>
        </p:sp>
        <p:sp>
          <p:nvSpPr>
            <p:cNvPr id="34" name="Oval 33">
              <a:extLst>
                <a:ext uri="{FF2B5EF4-FFF2-40B4-BE49-F238E27FC236}">
                  <a16:creationId xmlns:a16="http://schemas.microsoft.com/office/drawing/2014/main" id="{856CBD07-6D53-EAD9-36FB-F7F3734B2504}"/>
                </a:ext>
              </a:extLst>
            </p:cNvPr>
            <p:cNvSpPr>
              <a:spLocks/>
            </p:cNvSpPr>
            <p:nvPr/>
          </p:nvSpPr>
          <p:spPr>
            <a:xfrm>
              <a:off x="3056386" y="1134984"/>
              <a:ext cx="776287" cy="2532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23.5</a:t>
              </a:r>
            </a:p>
          </p:txBody>
        </p:sp>
        <p:sp>
          <p:nvSpPr>
            <p:cNvPr id="35" name="Oval 34">
              <a:extLst>
                <a:ext uri="{FF2B5EF4-FFF2-40B4-BE49-F238E27FC236}">
                  <a16:creationId xmlns:a16="http://schemas.microsoft.com/office/drawing/2014/main" id="{5B77F0E1-BFA2-7FB9-BF5B-C896B0C36541}"/>
                </a:ext>
              </a:extLst>
            </p:cNvPr>
            <p:cNvSpPr>
              <a:spLocks/>
            </p:cNvSpPr>
            <p:nvPr/>
          </p:nvSpPr>
          <p:spPr>
            <a:xfrm>
              <a:off x="4843463" y="1134984"/>
              <a:ext cx="776287" cy="2532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28.6</a:t>
              </a:r>
            </a:p>
          </p:txBody>
        </p:sp>
        <p:sp>
          <p:nvSpPr>
            <p:cNvPr id="36" name="Oval 35">
              <a:extLst>
                <a:ext uri="{FF2B5EF4-FFF2-40B4-BE49-F238E27FC236}">
                  <a16:creationId xmlns:a16="http://schemas.microsoft.com/office/drawing/2014/main" id="{D6975D18-E21C-6E73-81FB-D3F74B9526D6}"/>
                </a:ext>
              </a:extLst>
            </p:cNvPr>
            <p:cNvSpPr>
              <a:spLocks/>
            </p:cNvSpPr>
            <p:nvPr/>
          </p:nvSpPr>
          <p:spPr>
            <a:xfrm>
              <a:off x="6715125" y="1134984"/>
              <a:ext cx="776287" cy="2532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30.6</a:t>
              </a:r>
            </a:p>
          </p:txBody>
        </p:sp>
        <p:sp>
          <p:nvSpPr>
            <p:cNvPr id="37" name="Oval 36">
              <a:extLst>
                <a:ext uri="{FF2B5EF4-FFF2-40B4-BE49-F238E27FC236}">
                  <a16:creationId xmlns:a16="http://schemas.microsoft.com/office/drawing/2014/main" id="{20C03469-B695-E8F7-20DC-24F0809056D2}"/>
                </a:ext>
              </a:extLst>
            </p:cNvPr>
            <p:cNvSpPr>
              <a:spLocks/>
            </p:cNvSpPr>
            <p:nvPr/>
          </p:nvSpPr>
          <p:spPr>
            <a:xfrm>
              <a:off x="8469353" y="1134984"/>
              <a:ext cx="776287" cy="2532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6.1</a:t>
              </a:r>
            </a:p>
          </p:txBody>
        </p:sp>
        <p:sp>
          <p:nvSpPr>
            <p:cNvPr id="38" name="Oval 37">
              <a:extLst>
                <a:ext uri="{FF2B5EF4-FFF2-40B4-BE49-F238E27FC236}">
                  <a16:creationId xmlns:a16="http://schemas.microsoft.com/office/drawing/2014/main" id="{E53DE194-F009-20B9-05C6-C38D2A9BA4AA}"/>
                </a:ext>
              </a:extLst>
            </p:cNvPr>
            <p:cNvSpPr>
              <a:spLocks/>
            </p:cNvSpPr>
            <p:nvPr/>
          </p:nvSpPr>
          <p:spPr>
            <a:xfrm>
              <a:off x="10165533" y="1134984"/>
              <a:ext cx="776287" cy="2532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a:t>17.2</a:t>
              </a:r>
            </a:p>
          </p:txBody>
        </p:sp>
        <p:sp>
          <p:nvSpPr>
            <p:cNvPr id="39" name="Rectangle 38">
              <a:extLst>
                <a:ext uri="{FF2B5EF4-FFF2-40B4-BE49-F238E27FC236}">
                  <a16:creationId xmlns:a16="http://schemas.microsoft.com/office/drawing/2014/main" id="{C993127C-066E-EFF5-10D9-0D236060F278}"/>
                </a:ext>
              </a:extLst>
            </p:cNvPr>
            <p:cNvSpPr/>
            <p:nvPr/>
          </p:nvSpPr>
          <p:spPr>
            <a:xfrm>
              <a:off x="9710919" y="1700408"/>
              <a:ext cx="1743119" cy="11075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200" dirty="0">
                  <a:solidFill>
                    <a:schemeClr val="tx1"/>
                  </a:solidFill>
                </a:rPr>
                <a:t>Remaining</a:t>
              </a:r>
              <a:r>
                <a:rPr lang="en-GB" sz="1200" dirty="0">
                  <a:ln>
                    <a:noFill/>
                  </a:ln>
                  <a:solidFill>
                    <a:schemeClr val="tx1"/>
                  </a:solidFill>
                </a:rPr>
                <a:t> provisionin</a:t>
              </a:r>
              <a:r>
                <a:rPr lang="en-GB" sz="1200" dirty="0">
                  <a:solidFill>
                    <a:schemeClr val="tx1"/>
                  </a:solidFill>
                </a:rPr>
                <a:t>g systems </a:t>
              </a:r>
            </a:p>
            <a:p>
              <a:pPr algn="ctr"/>
              <a:r>
                <a:rPr lang="en-GB" sz="1200" dirty="0">
                  <a:ln>
                    <a:noFill/>
                  </a:ln>
                  <a:solidFill>
                    <a:schemeClr val="tx1"/>
                  </a:solidFill>
                </a:rPr>
                <a:t>(clothing; water and sanitation; education; other (appliances, communication devices))</a:t>
              </a:r>
            </a:p>
          </p:txBody>
        </p:sp>
      </p:grpSp>
      <p:sp>
        <p:nvSpPr>
          <p:cNvPr id="40" name="Google Shape;153;p55">
            <a:extLst>
              <a:ext uri="{FF2B5EF4-FFF2-40B4-BE49-F238E27FC236}">
                <a16:creationId xmlns:a16="http://schemas.microsoft.com/office/drawing/2014/main" id="{39BB72D2-0AA9-27F7-B700-9DCDCF8C6BFF}"/>
              </a:ext>
            </a:extLst>
          </p:cNvPr>
          <p:cNvSpPr>
            <a:spLocks/>
          </p:cNvSpPr>
          <p:nvPr/>
        </p:nvSpPr>
        <p:spPr>
          <a:xfrm>
            <a:off x="179387" y="1009649"/>
            <a:ext cx="11197547" cy="363538"/>
          </a:xfrm>
          <a:prstGeom prst="rect">
            <a:avLst/>
          </a:prstGeom>
          <a:solidFill>
            <a:schemeClr val="bg2"/>
          </a:solidFill>
          <a:ln>
            <a:noFill/>
          </a:ln>
        </p:spPr>
        <p:txBody>
          <a:bodyPr spcFirstLastPara="1" wrap="square" lIns="90000" tIns="90000" rIns="90000" bIns="90000" anchor="ctr" anchorCtr="0">
            <a:noAutofit/>
          </a:bodyPr>
          <a:lstStyle/>
          <a:p>
            <a:pPr>
              <a:buClr>
                <a:srgbClr val="000000"/>
              </a:buClr>
            </a:pPr>
            <a:r>
              <a:rPr lang="en-US" sz="1600" b="1" kern="0" dirty="0">
                <a:solidFill>
                  <a:srgbClr val="585854"/>
                </a:solidFill>
                <a:latin typeface="Century Gothic" panose="020B0502020202020204" pitchFamily="34" charset="0"/>
                <a:cs typeface="Arial"/>
                <a:sym typeface="Arial"/>
              </a:rPr>
              <a:t>Material footprint by provisioning system and material type (2022)</a:t>
            </a:r>
          </a:p>
        </p:txBody>
      </p:sp>
      <p:sp>
        <p:nvSpPr>
          <p:cNvPr id="43" name="Rectangle 42">
            <a:extLst>
              <a:ext uri="{FF2B5EF4-FFF2-40B4-BE49-F238E27FC236}">
                <a16:creationId xmlns:a16="http://schemas.microsoft.com/office/drawing/2014/main" id="{E8E80F6D-1C79-7449-51A4-9DB2CFEB0763}"/>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22850959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7A69229-F870-3EA6-028E-EEEDB2EA757B}"/>
              </a:ext>
            </a:extLst>
          </p:cNvPr>
          <p:cNvGraphicFramePr>
            <a:graphicFrameLocks noChangeAspect="1"/>
          </p:cNvGraphicFramePr>
          <p:nvPr>
            <p:custDataLst>
              <p:tags r:id="rId1"/>
            </p:custDataLst>
            <p:extLst>
              <p:ext uri="{D42A27DB-BD31-4B8C-83A1-F6EECF244321}">
                <p14:modId xmlns:p14="http://schemas.microsoft.com/office/powerpoint/2010/main" val="205383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54" progId="TCLayout.ActiveDocument.1">
                  <p:embed/>
                </p:oleObj>
              </mc:Choice>
              <mc:Fallback>
                <p:oleObj name="think-cell Slide" r:id="rId4" imgW="282" imgH="254" progId="TCLayout.ActiveDocument.1">
                  <p:embed/>
                  <p:pic>
                    <p:nvPicPr>
                      <p:cNvPr id="11" name="think-cell data - do not delete" hidden="1">
                        <a:extLst>
                          <a:ext uri="{FF2B5EF4-FFF2-40B4-BE49-F238E27FC236}">
                            <a16:creationId xmlns:a16="http://schemas.microsoft.com/office/drawing/2014/main" id="{17A69229-F870-3EA6-028E-EEEDB2EA75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04F05D-5F09-5B37-58CF-BDE6D34A12B1}"/>
              </a:ext>
            </a:extLst>
          </p:cNvPr>
          <p:cNvSpPr>
            <a:spLocks noGrp="1"/>
          </p:cNvSpPr>
          <p:nvPr>
            <p:ph type="title"/>
          </p:nvPr>
        </p:nvSpPr>
        <p:spPr>
          <a:xfrm>
            <a:off x="180180" y="107244"/>
            <a:ext cx="11831639" cy="708715"/>
          </a:xfrm>
        </p:spPr>
        <p:txBody>
          <a:bodyPr vert="horz">
            <a:normAutofit fontScale="90000"/>
          </a:bodyPr>
          <a:lstStyle/>
          <a:p>
            <a:r>
              <a:rPr lang="en-GB" dirty="0"/>
              <a:t>High-income countries drive ten times </a:t>
            </a:r>
            <a:r>
              <a:rPr lang="en-US" dirty="0"/>
              <a:t>ten times more climate impacts per capita than low-income countries</a:t>
            </a:r>
            <a:r>
              <a:rPr lang="en-GB" dirty="0"/>
              <a:t>  </a:t>
            </a:r>
          </a:p>
        </p:txBody>
      </p:sp>
      <p:grpSp>
        <p:nvGrpSpPr>
          <p:cNvPr id="6" name="Group 5">
            <a:extLst>
              <a:ext uri="{FF2B5EF4-FFF2-40B4-BE49-F238E27FC236}">
                <a16:creationId xmlns:a16="http://schemas.microsoft.com/office/drawing/2014/main" id="{5226153B-78AC-208A-E0F3-780877BB61DB}"/>
              </a:ext>
            </a:extLst>
          </p:cNvPr>
          <p:cNvGrpSpPr/>
          <p:nvPr/>
        </p:nvGrpSpPr>
        <p:grpSpPr>
          <a:xfrm>
            <a:off x="994276" y="882182"/>
            <a:ext cx="9515648" cy="5633718"/>
            <a:chOff x="1895289" y="1522845"/>
            <a:chExt cx="7961255" cy="4680534"/>
          </a:xfrm>
        </p:grpSpPr>
        <p:pic>
          <p:nvPicPr>
            <p:cNvPr id="7" name="Picture 6">
              <a:extLst>
                <a:ext uri="{FF2B5EF4-FFF2-40B4-BE49-F238E27FC236}">
                  <a16:creationId xmlns:a16="http://schemas.microsoft.com/office/drawing/2014/main" id="{FD2EA0F1-E717-CB2F-B90F-D223A7268F09}"/>
                </a:ext>
              </a:extLst>
            </p:cNvPr>
            <p:cNvPicPr>
              <a:picLocks noChangeAspect="1"/>
            </p:cNvPicPr>
            <p:nvPr/>
          </p:nvPicPr>
          <p:blipFill rotWithShape="1">
            <a:blip r:embed="rId6"/>
            <a:srcRect t="2748"/>
            <a:stretch/>
          </p:blipFill>
          <p:spPr>
            <a:xfrm>
              <a:off x="1895289" y="1522845"/>
              <a:ext cx="7961255" cy="4680534"/>
            </a:xfrm>
            <a:prstGeom prst="rect">
              <a:avLst/>
            </a:prstGeom>
          </p:spPr>
        </p:pic>
        <p:sp>
          <p:nvSpPr>
            <p:cNvPr id="8" name="TextBox 7">
              <a:extLst>
                <a:ext uri="{FF2B5EF4-FFF2-40B4-BE49-F238E27FC236}">
                  <a16:creationId xmlns:a16="http://schemas.microsoft.com/office/drawing/2014/main" id="{7D0D2A8C-63D8-B464-F5DB-403D1F750A8C}"/>
                </a:ext>
              </a:extLst>
            </p:cNvPr>
            <p:cNvSpPr txBox="1"/>
            <p:nvPr/>
          </p:nvSpPr>
          <p:spPr>
            <a:xfrm>
              <a:off x="2071134" y="3779227"/>
              <a:ext cx="279777" cy="307777"/>
            </a:xfrm>
            <a:prstGeom prst="rect">
              <a:avLst/>
            </a:prstGeom>
            <a:noFill/>
          </p:spPr>
          <p:txBody>
            <a:bodyPr wrap="square" rtlCol="0">
              <a:spAutoFit/>
            </a:bodyPr>
            <a:lstStyle/>
            <a:p>
              <a:r>
                <a:rPr lang="en-GB" sz="1400" dirty="0"/>
                <a:t>*</a:t>
              </a:r>
            </a:p>
          </p:txBody>
        </p:sp>
      </p:grpSp>
      <p:sp>
        <p:nvSpPr>
          <p:cNvPr id="9" name="TextBox 8">
            <a:extLst>
              <a:ext uri="{FF2B5EF4-FFF2-40B4-BE49-F238E27FC236}">
                <a16:creationId xmlns:a16="http://schemas.microsoft.com/office/drawing/2014/main" id="{739A82A3-68D4-9E6C-DD8F-2D887A78A8AA}"/>
              </a:ext>
            </a:extLst>
          </p:cNvPr>
          <p:cNvSpPr txBox="1"/>
          <p:nvPr/>
        </p:nvSpPr>
        <p:spPr>
          <a:xfrm>
            <a:off x="642796" y="6540500"/>
            <a:ext cx="4423630" cy="138499"/>
          </a:xfrm>
          <a:prstGeom prst="rect">
            <a:avLst/>
          </a:prstGeom>
          <a:noFill/>
          <a:ln>
            <a:noFill/>
          </a:ln>
        </p:spPr>
        <p:txBody>
          <a:bodyPr spcFirstLastPara="1" wrap="square" lIns="0" tIns="0" rIns="0" bIns="0" anchor="b" anchorCtr="0">
            <a:spAutoFit/>
          </a:bodyPr>
          <a:lstStyle>
            <a:defPPr marR="0" lvl="0" algn="l" rtl="0">
              <a:lnSpc>
                <a:spcPct val="100000"/>
              </a:lnSpc>
              <a:spcBef>
                <a:spcPts val="0"/>
              </a:spcBef>
              <a:spcAft>
                <a:spcPts val="0"/>
              </a:spcAft>
              <a:defRPr/>
            </a:defPPr>
            <a:lvl1pPr>
              <a:buSzPts val="1400"/>
              <a:buNone/>
              <a:defRPr sz="900">
                <a:solidFill>
                  <a:srgbClr val="7F7F7F"/>
                </a:solidFill>
              </a:defRPr>
            </a:lvl1pPr>
            <a:lvl2pPr>
              <a:buSzPts val="1400"/>
              <a:buNone/>
              <a:defRPr sz="1800">
                <a:solidFill>
                  <a:schemeClr val="dk1"/>
                </a:solidFill>
              </a:defRPr>
            </a:lvl2pPr>
            <a:lvl3pPr>
              <a:buSzPts val="1400"/>
              <a:buNone/>
              <a:defRPr sz="1800">
                <a:solidFill>
                  <a:schemeClr val="dk1"/>
                </a:solidFill>
              </a:defRPr>
            </a:lvl3pPr>
            <a:lvl4pPr>
              <a:buSzPts val="1400"/>
              <a:buNone/>
              <a:defRPr sz="1800">
                <a:solidFill>
                  <a:schemeClr val="dk1"/>
                </a:solidFill>
              </a:defRPr>
            </a:lvl4pPr>
            <a:lvl5pPr>
              <a:buSzPts val="1400"/>
              <a:buNone/>
              <a:defRPr sz="1800">
                <a:solidFill>
                  <a:schemeClr val="dk1"/>
                </a:solidFill>
              </a:defRPr>
            </a:lvl5pPr>
            <a:lvl6pPr>
              <a:buSzPts val="1400"/>
              <a:buNone/>
              <a:defRPr sz="1800">
                <a:solidFill>
                  <a:schemeClr val="dk1"/>
                </a:solidFill>
              </a:defRPr>
            </a:lvl6pPr>
            <a:lvl7pPr>
              <a:buSzPts val="1400"/>
              <a:buNone/>
              <a:defRPr sz="1800">
                <a:solidFill>
                  <a:schemeClr val="dk1"/>
                </a:solidFill>
              </a:defRPr>
            </a:lvl7pPr>
            <a:lvl8pPr>
              <a:buSzPts val="1400"/>
              <a:buNone/>
              <a:defRPr sz="1800">
                <a:solidFill>
                  <a:schemeClr val="dk1"/>
                </a:solidFill>
              </a:defRPr>
            </a:lvl8pPr>
            <a:lvl9pPr>
              <a:buSzPts val="1400"/>
              <a:buNone/>
              <a:defRPr sz="1800">
                <a:solidFill>
                  <a:schemeClr val="dk1"/>
                </a:solidFill>
              </a:defRPr>
            </a:lvl9pPr>
          </a:lstStyle>
          <a:p>
            <a:r>
              <a:rPr lang="en-GB" dirty="0"/>
              <a:t>* Global pdf: Global potentially disappeared fraction of species</a:t>
            </a:r>
          </a:p>
        </p:txBody>
      </p:sp>
      <p:sp>
        <p:nvSpPr>
          <p:cNvPr id="10" name="Rectangle 9">
            <a:extLst>
              <a:ext uri="{FF2B5EF4-FFF2-40B4-BE49-F238E27FC236}">
                <a16:creationId xmlns:a16="http://schemas.microsoft.com/office/drawing/2014/main" id="{35E68DB7-CE06-FC5E-5244-0F0EA4EA2037}"/>
              </a:ext>
            </a:extLst>
          </p:cNvPr>
          <p:cNvSpPr/>
          <p:nvPr/>
        </p:nvSpPr>
        <p:spPr>
          <a:xfrm>
            <a:off x="10105984" y="6162685"/>
            <a:ext cx="2086016" cy="58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8821239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https://d.docs.live.net/2c833a9256badcab/Desktop/WIP/New Systemiq slide template.pptx"/>
  <p:tag name="THINKCELLPRESENTATIONDONOTDELETE" val="&lt;?xml version=&quot;1.0&quot; encoding=&quot;UTF-16&quot; standalone=&quot;yes&quot;?&gt;&lt;root reqver=&quot;28224&quot;&gt;&lt;version val=&quot;352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XjyVg24F2VBzsa0tg_bs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UxtJINoEuJRvLM0hlZ4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9tYS2ix8t4yHK.pTQGz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zgoIxXPl4DvoMEZK1mY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wYOblsQUAN4FmndASdyd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YG7YOi68MNFqM0e1bvcD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ZJWO1sQbMikMky2qXQK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JXwPGnMa.osGSv4q4YD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291J6_EKOQI6_Rmr38N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bu4xPJ140Tpu1AmUa1a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mR_gk83_le6y8WBrBYeZ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Gbvu2jEhZBXqDZXGTNZ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JZtCVw4GKxfLN91MSAo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RJGhIoosdX7USv..ZQG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52j_MxAb3.foyhUtvX7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IWs13Zwl9HG2tGX7yZ37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qbGmwqdKBlgri39Toby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ijXzA0QmUfY61.ISzxp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9.HGYJ1E7V5mgnFkDbwg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quIeCZnUqwwLGw4UJ5UI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95QFmPcBiG.hYT47Y_4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xiTQJbplosuqPgmlmui0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sXDL8kprg3cgj9ynHt.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m.M32hS0FyqGnBkYMap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tJA4ov0YSAlIBpoheqg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D21S4tKaW4slmXG9j54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_asUXRBQyOJFdLCgez_ZH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8DmR_XmQeUsJSakafpL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l1v_bhegbw6WgkQKwXWi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YjQmq8YsByNElpecnvP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zIHCwd_jK.YfF32Qm96k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tZ_LQ1biymZX3HpoLVG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TlrGlXHiWivW9iX2QBXB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_ggsHB6TWLFNrM9rHfP3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UJfLMJYdcHBSX_quJPj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T41kF97uzUQclPaCBQV8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wHkBlbRxhcBe6Fvs3kc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XIhEvTe26yHFQ4OeEgb6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7PCpC7QjTJd4n1m1DHm8Q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CrDJLvoMnUr0mIBRtL1u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CyOQwVmyrZuhlAWCprri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u5Ed6H7rWxH3l6H4HTQh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ubyUp1zbvatoHoqbEAsW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35_3hZum1YHshMBJnzp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kbEkFitEFNc9NMWJnJD9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_tv6UoByRmVtMHzMnA_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Oaqv9jRNuGX0JLAxay1L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xCdxhNQ098_VvB0JLNe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3GKdvxqBYTZWXp.WQA8z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SEyutufKpJQmftOY6ujQ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SOTzDwBat9OzKWGwksSe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1MEKR0c0RjLHJcySj9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0jd.auqQ17yskGZW.jXz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_MeATTchJOhckAt4x7Dt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fU9I5ZmRROC0QVv9.Wk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13dyxscT32GmM9lo0LX4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BSw6deySSSNItXvahQ.9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NnXye0WRtqLAVtnWThV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70eDg3wSmSX0bgx01Cs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EQLQ.kaRM.2393elWzIh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9w4Wb8_SkeSfsKeWFh.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qgLjEL6RMCSTdachL9A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sT8WmJ5mer2oYpTnxTz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lXu2W5VYdWqRKE2EDuZCw"/>
</p:tagLst>
</file>

<file path=ppt/theme/theme1.xml><?xml version="1.0" encoding="utf-8"?>
<a:theme xmlns:a="http://schemas.openxmlformats.org/drawingml/2006/main" name="Systemiq 2024">
  <a:themeElements>
    <a:clrScheme name="0">
      <a:dk1>
        <a:srgbClr val="000000"/>
      </a:dk1>
      <a:lt1>
        <a:srgbClr val="FFFFFF"/>
      </a:lt1>
      <a:dk2>
        <a:srgbClr val="00146D"/>
      </a:dk2>
      <a:lt2>
        <a:srgbClr val="FFFFFF"/>
      </a:lt2>
      <a:accent1>
        <a:srgbClr val="00B0F0"/>
      </a:accent1>
      <a:accent2>
        <a:srgbClr val="B2D235"/>
      </a:accent2>
      <a:accent3>
        <a:srgbClr val="FEDD00"/>
      </a:accent3>
      <a:accent4>
        <a:srgbClr val="FF6D70"/>
      </a:accent4>
      <a:accent5>
        <a:srgbClr val="585854"/>
      </a:accent5>
      <a:accent6>
        <a:srgbClr val="BCBEBB"/>
      </a:accent6>
      <a:hlink>
        <a:srgbClr val="00146D"/>
      </a:hlink>
      <a:folHlink>
        <a:srgbClr val="B2D235"/>
      </a:folHlink>
    </a:clrScheme>
    <a:fontScheme name="Custom 69">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err="1" smtClean="0"/>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SYSTEMIQ 2.0">
  <a:themeElements>
    <a:clrScheme name="SYSTEMIQ">
      <a:dk1>
        <a:srgbClr val="000000"/>
      </a:dk1>
      <a:lt1>
        <a:srgbClr val="FFFFFF"/>
      </a:lt1>
      <a:dk2>
        <a:srgbClr val="00146D"/>
      </a:dk2>
      <a:lt2>
        <a:srgbClr val="FFFFFF"/>
      </a:lt2>
      <a:accent1>
        <a:srgbClr val="00B0F0"/>
      </a:accent1>
      <a:accent2>
        <a:srgbClr val="B2D235"/>
      </a:accent2>
      <a:accent3>
        <a:srgbClr val="FEDD00"/>
      </a:accent3>
      <a:accent4>
        <a:srgbClr val="FF6D70"/>
      </a:accent4>
      <a:accent5>
        <a:srgbClr val="585854"/>
      </a:accent5>
      <a:accent6>
        <a:srgbClr val="BCBEBB"/>
      </a:accent6>
      <a:hlink>
        <a:srgbClr val="00146D"/>
      </a:hlink>
      <a:folHlink>
        <a:srgbClr val="B2D235"/>
      </a:folHlink>
    </a:clrScheme>
    <a:fontScheme name="New SYSTEMIQ Fonts">
      <a:majorFont>
        <a:latin typeface="Bebas Kai"/>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smtClean="0">
            <a:ln>
              <a:noFill/>
            </a:ln>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Presentation1" id="{AEA72153-F740-4310-AE9F-9F053E7DC510}" vid="{8E31217B-BBA1-4D7C-9D18-ACDBD82CC85E}"/>
    </a:ext>
  </a:extLst>
</a:theme>
</file>

<file path=ppt/theme/theme3.xml><?xml version="1.0" encoding="utf-8"?>
<a:theme xmlns:a="http://schemas.openxmlformats.org/drawingml/2006/main" name="SYSTEMIQ 2.0">
  <a:themeElements>
    <a:clrScheme name="SYSTEMIQ">
      <a:dk1>
        <a:srgbClr val="000000"/>
      </a:dk1>
      <a:lt1>
        <a:srgbClr val="FFFFFF"/>
      </a:lt1>
      <a:dk2>
        <a:srgbClr val="00146D"/>
      </a:dk2>
      <a:lt2>
        <a:srgbClr val="FFFFFF"/>
      </a:lt2>
      <a:accent1>
        <a:srgbClr val="00B0F0"/>
      </a:accent1>
      <a:accent2>
        <a:srgbClr val="B2D235"/>
      </a:accent2>
      <a:accent3>
        <a:srgbClr val="FEDD00"/>
      </a:accent3>
      <a:accent4>
        <a:srgbClr val="FF6D70"/>
      </a:accent4>
      <a:accent5>
        <a:srgbClr val="585854"/>
      </a:accent5>
      <a:accent6>
        <a:srgbClr val="BCBEBB"/>
      </a:accent6>
      <a:hlink>
        <a:srgbClr val="00146D"/>
      </a:hlink>
      <a:folHlink>
        <a:srgbClr val="B2D235"/>
      </a:folHlink>
    </a:clrScheme>
    <a:fontScheme name="New SYSTEMIQ Fonts">
      <a:majorFont>
        <a:latin typeface="Bebas Kai"/>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smtClean="0">
            <a:ln>
              <a:noFill/>
            </a:ln>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285750" indent="-285750" algn="l">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Presentation1" id="{AEA72153-F740-4310-AE9F-9F053E7DC510}" vid="{8E31217B-BBA1-4D7C-9D18-ACDBD82CC85E}"/>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e63a9cf-4a37-43bf-a8c0-6f71e0c61680">
      <Terms xmlns="http://schemas.microsoft.com/office/infopath/2007/PartnerControls"/>
    </lcf76f155ced4ddcb4097134ff3c332f>
    <TaxCatchAll xmlns="b3504873-9a6e-4fa1-bcee-5c51687cf89c" xsi:nil="true"/>
  </documentManagement>
</p:properties>
</file>

<file path=customXml/item2.xml><?xml version="1.0" encoding="utf-8"?>
<TemplafyTemplateConfiguration><![CDATA[{"elementsMetadata":[],"transformationConfigurations":[],"templateName":"New Systemiq slide template","templateDescription":"","enableDocumentContentUpdater":false,"version":"2.0"}]]></Templafy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FormConfiguration><![CDATA[{"formFields":[],"formDataEntries":[]}]]></TemplafyForm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8E11483CCA8F96489B5F0F0062499F0D" ma:contentTypeVersion="13" ma:contentTypeDescription="Een nieuw document maken." ma:contentTypeScope="" ma:versionID="324cd564ffd7f9a54728b2e515429423">
  <xsd:schema xmlns:xsd="http://www.w3.org/2001/XMLSchema" xmlns:xs="http://www.w3.org/2001/XMLSchema" xmlns:p="http://schemas.microsoft.com/office/2006/metadata/properties" xmlns:ns2="fe63a9cf-4a37-43bf-a8c0-6f71e0c61680" xmlns:ns3="b3504873-9a6e-4fa1-bcee-5c51687cf89c" targetNamespace="http://schemas.microsoft.com/office/2006/metadata/properties" ma:root="true" ma:fieldsID="22f51a4eca9209ff6144636e0f590882" ns2:_="" ns3:_="">
    <xsd:import namespace="fe63a9cf-4a37-43bf-a8c0-6f71e0c61680"/>
    <xsd:import namespace="b3504873-9a6e-4fa1-bcee-5c51687cf89c"/>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63a9cf-4a37-43bf-a8c0-6f71e0c616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Afbeeldingtags" ma:readOnly="false" ma:fieldId="{5cf76f15-5ced-4ddc-b409-7134ff3c332f}" ma:taxonomyMulti="true" ma:sspId="abf50c33-3894-4027-a1ff-ed859ff559bc"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3504873-9a6e-4fa1-bcee-5c51687cf89c"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fd5eb61-0745-413b-98c3-01bea97dee87}" ma:internalName="TaxCatchAll" ma:showField="CatchAllData" ma:web="b3504873-9a6e-4fa1-bcee-5c51687cf89c">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FormConfiguration><![CDATA[{"formFields":[],"formDataEntries":[]}]]></TemplafySlideFormConfiguration>
</file>

<file path=customXml/item7.xml><?xml version="1.0" encoding="utf-8"?>
<TemplafySlideTemplateConfiguration><![CDATA[{"slideVersion":1,"isValidatorEnabled":false,"isLocked":false,"elementsMetadata":[],"slideId":"638416149719067122","enableDocumentContentUpdater":false,"version":"2.0"}]]></TemplafySlideTemplateConfiguration>
</file>

<file path=customXml/itemProps1.xml><?xml version="1.0" encoding="utf-8"?>
<ds:datastoreItem xmlns:ds="http://schemas.openxmlformats.org/officeDocument/2006/customXml" ds:itemID="{964F119F-23AB-4E59-90A7-5884BFB157C3}">
  <ds:schemaRefs>
    <ds:schemaRef ds:uri="http://purl.org/dc/terms/"/>
    <ds:schemaRef ds:uri="http://purl.org/dc/dcmitype/"/>
    <ds:schemaRef ds:uri="http://purl.org/dc/elements/1.1/"/>
    <ds:schemaRef ds:uri="http://schemas.microsoft.com/office/infopath/2007/PartnerControls"/>
    <ds:schemaRef ds:uri="http://www.w3.org/XML/1998/namespace"/>
    <ds:schemaRef ds:uri="http://schemas.openxmlformats.org/package/2006/metadata/core-properties"/>
    <ds:schemaRef ds:uri="http://schemas.microsoft.com/office/2006/documentManagement/types"/>
    <ds:schemaRef ds:uri="17d91cf2-c2ee-4518-b290-0a80490984fc"/>
    <ds:schemaRef ds:uri="9aa8f6c0-b551-4142-88ab-387f54c4c7a7"/>
    <ds:schemaRef ds:uri="http://schemas.microsoft.com/office/2006/metadata/properties"/>
  </ds:schemaRefs>
</ds:datastoreItem>
</file>

<file path=customXml/itemProps2.xml><?xml version="1.0" encoding="utf-8"?>
<ds:datastoreItem xmlns:ds="http://schemas.openxmlformats.org/officeDocument/2006/customXml" ds:itemID="{1EB758AA-4629-43D6-95B7-C0D774915E93}">
  <ds:schemaRefs/>
</ds:datastoreItem>
</file>

<file path=customXml/itemProps3.xml><?xml version="1.0" encoding="utf-8"?>
<ds:datastoreItem xmlns:ds="http://schemas.openxmlformats.org/officeDocument/2006/customXml" ds:itemID="{70ADAA79-2515-4E05-9375-A1F1C6C3AFCA}">
  <ds:schemaRefs>
    <ds:schemaRef ds:uri="http://schemas.microsoft.com/sharepoint/v3/contenttype/forms"/>
  </ds:schemaRefs>
</ds:datastoreItem>
</file>

<file path=customXml/itemProps4.xml><?xml version="1.0" encoding="utf-8"?>
<ds:datastoreItem xmlns:ds="http://schemas.openxmlformats.org/officeDocument/2006/customXml" ds:itemID="{7EC7C187-7F97-4065-93DD-EB6CC54E1800}">
  <ds:schemaRefs/>
</ds:datastoreItem>
</file>

<file path=customXml/itemProps5.xml><?xml version="1.0" encoding="utf-8"?>
<ds:datastoreItem xmlns:ds="http://schemas.openxmlformats.org/officeDocument/2006/customXml" ds:itemID="{BDD9DD60-0EC0-4A66-B4EA-C5D2E6279598}"/>
</file>

<file path=customXml/itemProps6.xml><?xml version="1.0" encoding="utf-8"?>
<ds:datastoreItem xmlns:ds="http://schemas.openxmlformats.org/officeDocument/2006/customXml" ds:itemID="{C5A8AAEC-05BF-46EC-AB5A-B2638165E03F}">
  <ds:schemaRefs/>
</ds:datastoreItem>
</file>

<file path=customXml/itemProps7.xml><?xml version="1.0" encoding="utf-8"?>
<ds:datastoreItem xmlns:ds="http://schemas.openxmlformats.org/officeDocument/2006/customXml" ds:itemID="{D0A56759-177E-4D4E-B69C-F370C99C034A}">
  <ds:schemaRefs/>
</ds:datastoreItem>
</file>

<file path=docProps/app.xml><?xml version="1.0" encoding="utf-8"?>
<Properties xmlns="http://schemas.openxmlformats.org/officeDocument/2006/extended-properties" xmlns:vt="http://schemas.openxmlformats.org/officeDocument/2006/docPropsVTypes">
  <TotalTime>0</TotalTime>
  <Words>1127</Words>
  <Application>Microsoft Office PowerPoint</Application>
  <PresentationFormat>Widescreen</PresentationFormat>
  <Paragraphs>218</Paragraphs>
  <Slides>15</Slides>
  <Notes>14</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31" baseType="lpstr">
      <vt:lpstr>Aptos</vt:lpstr>
      <vt:lpstr>Museo Sans 100</vt:lpstr>
      <vt:lpstr>Wingdings</vt:lpstr>
      <vt:lpstr>Arial Nova</vt:lpstr>
      <vt:lpstr>Georgia</vt:lpstr>
      <vt:lpstr>Roboto Regular</vt:lpstr>
      <vt:lpstr>Source Sans Pro</vt:lpstr>
      <vt:lpstr>Bebas Kai</vt:lpstr>
      <vt:lpstr>Century Gothic</vt:lpstr>
      <vt:lpstr>Calibri</vt:lpstr>
      <vt:lpstr>Arial</vt:lpstr>
      <vt:lpstr>Systemiq 2024</vt:lpstr>
      <vt:lpstr>2_SYSTEMIQ 2.0</vt:lpstr>
      <vt:lpstr>SYSTEMIQ 2.0</vt:lpstr>
      <vt:lpstr>2_Office Theme</vt:lpstr>
      <vt:lpstr>think-cell Slide</vt:lpstr>
      <vt:lpstr>Systemiq perspectives on the Global Resources Outlook 2024 </vt:lpstr>
      <vt:lpstr>Resource use is rising (almost) faster than ever, while productivity stagnates</vt:lpstr>
      <vt:lpstr>Meanwhile, other productivities soar…</vt:lpstr>
      <vt:lpstr>High-income countries use six times more materials per capita than low-income countries…</vt:lpstr>
      <vt:lpstr>…And it’s driving climate change, biodiversity loss, pollution and more</vt:lpstr>
      <vt:lpstr>Impacts are increasing, and massively exceed globally agreed targets</vt:lpstr>
      <vt:lpstr>Resources should be targeted to human needs through provisioning systems</vt:lpstr>
      <vt:lpstr>Major provisioning systems have different material footprint breakdowns: nutrition mainly biomass, household energy mainly fossil fuels</vt:lpstr>
      <vt:lpstr>High-income countries drive ten times ten times more climate impacts per capita than low-income countries  </vt:lpstr>
      <vt:lpstr>The solution: decoupling resource use from economic activity and human wellbeing</vt:lpstr>
      <vt:lpstr>Sustainability Transition Scenario is built up as three ‘shifts’ plus measures to support just transition, and measures to optimise key provisioning systems</vt:lpstr>
      <vt:lpstr>It is possible to mitigate future resource use while growing the economy, improving well-being and dramatically reducing environmental impacts</vt:lpstr>
      <vt:lpstr>Bold policy action can make the Sustainability Transition Scenario real</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iq slide template Jan 2024</dc:title>
  <dc:creator/>
  <cp:lastModifiedBy>Rebecca Nohl</cp:lastModifiedBy>
  <cp:revision>29</cp:revision>
  <dcterms:created xsi:type="dcterms:W3CDTF">2024-02-06T08:15:22Z</dcterms:created>
  <dcterms:modified xsi:type="dcterms:W3CDTF">2024-04-23T10:3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4-01-23T13:56:11</vt:lpwstr>
  </property>
  <property fmtid="{D5CDD505-2E9C-101B-9397-08002B2CF9AE}" pid="3" name="TemplafyTenantId">
    <vt:lpwstr>systemiq</vt:lpwstr>
  </property>
  <property fmtid="{D5CDD505-2E9C-101B-9397-08002B2CF9AE}" pid="4" name="TemplafyTemplateId">
    <vt:lpwstr>829435220361216530</vt:lpwstr>
  </property>
  <property fmtid="{D5CDD505-2E9C-101B-9397-08002B2CF9AE}" pid="5" name="TemplafyUserProfileId">
    <vt:lpwstr>637854390360119997</vt:lpwstr>
  </property>
  <property fmtid="{D5CDD505-2E9C-101B-9397-08002B2CF9AE}" pid="6" name="TemplafyFromBlank">
    <vt:bool>true</vt:bool>
  </property>
  <property fmtid="{D5CDD505-2E9C-101B-9397-08002B2CF9AE}" pid="7" name="ContentTypeId">
    <vt:lpwstr>0x0101008E11483CCA8F96489B5F0F0062499F0D</vt:lpwstr>
  </property>
  <property fmtid="{D5CDD505-2E9C-101B-9397-08002B2CF9AE}" pid="8" name="MediaServiceImageTags">
    <vt:lpwstr/>
  </property>
</Properties>
</file>